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8" r:id="rId2"/>
    <p:sldId id="365" r:id="rId3"/>
    <p:sldId id="366" r:id="rId4"/>
    <p:sldId id="257" r:id="rId5"/>
    <p:sldId id="525" r:id="rId6"/>
    <p:sldId id="526" r:id="rId7"/>
    <p:sldId id="527" r:id="rId8"/>
    <p:sldId id="528" r:id="rId9"/>
    <p:sldId id="529" r:id="rId10"/>
    <p:sldId id="530" r:id="rId11"/>
    <p:sldId id="567" r:id="rId12"/>
    <p:sldId id="554" r:id="rId13"/>
    <p:sldId id="566" r:id="rId14"/>
    <p:sldId id="558" r:id="rId15"/>
    <p:sldId id="531" r:id="rId16"/>
    <p:sldId id="482" r:id="rId17"/>
    <p:sldId id="534" r:id="rId18"/>
    <p:sldId id="535" r:id="rId19"/>
    <p:sldId id="532" r:id="rId20"/>
    <p:sldId id="511" r:id="rId21"/>
    <p:sldId id="536" r:id="rId22"/>
    <p:sldId id="538" r:id="rId23"/>
    <p:sldId id="537" r:id="rId24"/>
    <p:sldId id="539" r:id="rId25"/>
    <p:sldId id="551" r:id="rId26"/>
    <p:sldId id="545" r:id="rId27"/>
    <p:sldId id="544" r:id="rId28"/>
    <p:sldId id="546" r:id="rId29"/>
    <p:sldId id="569" r:id="rId30"/>
    <p:sldId id="568" r:id="rId31"/>
    <p:sldId id="570" r:id="rId32"/>
    <p:sldId id="433" r:id="rId33"/>
  </p:sldIdLst>
  <p:sldSz cx="9144000" cy="6858000" type="screen4x3"/>
  <p:notesSz cx="7099300" cy="10234613"/>
  <p:embeddedFontLst>
    <p:embeddedFont>
      <p:font typeface="Tahoma" panose="020B0604030504040204" pitchFamily="34" charset="0"/>
      <p:regular r:id="rId36"/>
      <p:bold r:id="rId37"/>
    </p:embeddedFont>
    <p:embeddedFont>
      <p:font typeface="黑体" panose="02010609060101010101" pitchFamily="49" charset="-122"/>
      <p:regular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903" userDrawn="1">
          <p15:clr>
            <a:srgbClr val="A4A3A4"/>
          </p15:clr>
        </p15:guide>
        <p15:guide id="3" pos="2245" userDrawn="1">
          <p15:clr>
            <a:srgbClr val="A4A3A4"/>
          </p15:clr>
        </p15:guide>
        <p15:guide id="4" pos="11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ia Zaragoza marco" initials="" lastIdx="1" clrIdx="0"/>
  <p:cmAuthor id="1" name="Annabel Keller" initials="AK" lastIdx="1" clrIdx="1">
    <p:extLst/>
  </p:cmAuthor>
  <p:cmAuthor id="2" name="Harald" initials="H" lastIdx="4" clrIdx="2">
    <p:extLst/>
  </p:cmAuthor>
  <p:cmAuthor id="3" name="Richard Wang" initials="RW" lastIdx="9" clrIdx="3">
    <p:extLst>
      <p:ext uri="{19B8F6BF-5375-455C-9EA6-DF929625EA0E}">
        <p15:presenceInfo xmlns:p15="http://schemas.microsoft.com/office/powerpoint/2012/main" userId="87897df6a446537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A427"/>
    <a:srgbClr val="E9A327"/>
    <a:srgbClr val="002060"/>
    <a:srgbClr val="A90F2C"/>
    <a:srgbClr val="F2F2F2"/>
    <a:srgbClr val="A70F2B"/>
    <a:srgbClr val="CCCCCC"/>
    <a:srgbClr val="DECEA6"/>
    <a:srgbClr val="FCCA1C"/>
    <a:srgbClr val="A80F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24" autoAdjust="0"/>
  </p:normalViewPr>
  <p:slideViewPr>
    <p:cSldViewPr snapToGrid="0">
      <p:cViewPr varScale="1">
        <p:scale>
          <a:sx n="66" d="100"/>
          <a:sy n="66" d="100"/>
        </p:scale>
        <p:origin x="732" y="32"/>
      </p:cViewPr>
      <p:guideLst>
        <p:guide orient="horz" pos="2183"/>
        <p:guide pos="2903"/>
        <p:guide pos="2245"/>
        <p:guide pos="11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034" y="27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43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3F791D-613C-4C27-B481-1F4438FF43AA}" type="doc">
      <dgm:prSet loTypeId="urn:microsoft.com/office/officeart/2005/8/layout/hierarchy2" loCatId="hierarchy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zh-CN" altLang="en-US"/>
        </a:p>
      </dgm:t>
    </dgm:pt>
    <dgm:pt modelId="{CE691EDA-60AC-430A-B42E-A0962DCF736A}">
      <dgm:prSet phldrT="[文本]" custT="1"/>
      <dgm:spPr>
        <a:solidFill>
          <a:srgbClr val="EAA427"/>
        </a:solidFill>
        <a:ln>
          <a:noFill/>
        </a:ln>
      </dgm:spPr>
      <dgm:t>
        <a:bodyPr/>
        <a:lstStyle/>
        <a:p>
          <a:r>
            <a:rPr lang="en-US" altLang="zh-CN" sz="1200" dirty="0" smtClean="0">
              <a:solidFill>
                <a:schemeClr val="bg1"/>
              </a:solidFill>
            </a:rPr>
            <a:t>Brazil</a:t>
          </a:r>
          <a:endParaRPr lang="zh-CN" altLang="en-US" sz="1200" dirty="0">
            <a:solidFill>
              <a:schemeClr val="bg1"/>
            </a:solidFill>
          </a:endParaRPr>
        </a:p>
      </dgm:t>
    </dgm:pt>
    <dgm:pt modelId="{EE043DBC-BD73-4F29-9697-008791CB2248}" type="parTrans" cxnId="{09FAA774-4765-4DD3-8CC1-0F70C63A52C5}">
      <dgm:prSet/>
      <dgm:spPr/>
      <dgm:t>
        <a:bodyPr/>
        <a:lstStyle/>
        <a:p>
          <a:endParaRPr lang="zh-CN" altLang="en-US"/>
        </a:p>
      </dgm:t>
    </dgm:pt>
    <dgm:pt modelId="{82A71503-20B0-49DE-A876-B8FAA6A69D65}" type="sibTrans" cxnId="{09FAA774-4765-4DD3-8CC1-0F70C63A52C5}">
      <dgm:prSet/>
      <dgm:spPr/>
      <dgm:t>
        <a:bodyPr/>
        <a:lstStyle/>
        <a:p>
          <a:endParaRPr lang="zh-CN" altLang="en-US"/>
        </a:p>
      </dgm:t>
    </dgm:pt>
    <dgm:pt modelId="{B1F211CA-70C6-43A7-A4A2-F51ED95B3C5E}">
      <dgm:prSet phldrT="[文本]" custT="1"/>
      <dgm:spPr>
        <a:solidFill>
          <a:srgbClr val="C0C0C0"/>
        </a:solidFill>
      </dgm:spPr>
      <dgm:t>
        <a:bodyPr/>
        <a:lstStyle/>
        <a:p>
          <a:r>
            <a:rPr lang="en-US" altLang="zh-CN" sz="1200" dirty="0">
              <a:solidFill>
                <a:schemeClr val="tx1"/>
              </a:solidFill>
            </a:rPr>
            <a:t>Italy</a:t>
          </a:r>
          <a:endParaRPr lang="zh-CN" altLang="en-US" sz="1200" dirty="0">
            <a:solidFill>
              <a:schemeClr val="tx1"/>
            </a:solidFill>
          </a:endParaRPr>
        </a:p>
      </dgm:t>
    </dgm:pt>
    <dgm:pt modelId="{CF64C02D-BC85-4A2D-9705-14EEE32304BE}" type="parTrans" cxnId="{A8E49FCC-AEE1-44A8-96B7-370E93E85DCB}">
      <dgm:prSet/>
      <dgm:spPr/>
      <dgm:t>
        <a:bodyPr/>
        <a:lstStyle/>
        <a:p>
          <a:endParaRPr lang="zh-CN" altLang="en-US"/>
        </a:p>
      </dgm:t>
    </dgm:pt>
    <dgm:pt modelId="{5EC8132E-C76D-4785-AD7C-86C2DC555363}" type="sibTrans" cxnId="{A8E49FCC-AEE1-44A8-96B7-370E93E85DCB}">
      <dgm:prSet/>
      <dgm:spPr/>
      <dgm:t>
        <a:bodyPr/>
        <a:lstStyle/>
        <a:p>
          <a:endParaRPr lang="zh-CN" altLang="en-US"/>
        </a:p>
      </dgm:t>
    </dgm:pt>
    <dgm:pt modelId="{82139329-B3C0-49B5-9B85-0DB6D749993D}">
      <dgm:prSet phldrT="[文本]"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Sweden</a:t>
          </a:r>
          <a:endParaRPr lang="zh-CN" altLang="en-US" sz="1200" dirty="0"/>
        </a:p>
      </dgm:t>
    </dgm:pt>
    <dgm:pt modelId="{68A60494-2897-468F-8A2E-FDA909625E31}" type="parTrans" cxnId="{BB8A09AA-8E07-458C-8E44-A1EDCB1CB899}">
      <dgm:prSet/>
      <dgm:spPr/>
      <dgm:t>
        <a:bodyPr/>
        <a:lstStyle/>
        <a:p>
          <a:endParaRPr lang="zh-CN" altLang="en-US"/>
        </a:p>
      </dgm:t>
    </dgm:pt>
    <dgm:pt modelId="{6DA966AD-62EC-4C1E-BCAE-B7889B354184}" type="sibTrans" cxnId="{BB8A09AA-8E07-458C-8E44-A1EDCB1CB899}">
      <dgm:prSet/>
      <dgm:spPr/>
      <dgm:t>
        <a:bodyPr/>
        <a:lstStyle/>
        <a:p>
          <a:endParaRPr lang="zh-CN" altLang="en-US"/>
        </a:p>
      </dgm:t>
    </dgm:pt>
    <dgm:pt modelId="{62328106-104D-4B5C-B620-0B6720FCD858}">
      <dgm:prSet phldrT="[文本]" custT="1"/>
      <dgm:spPr>
        <a:solidFill>
          <a:srgbClr val="A70F2B">
            <a:alpha val="69804"/>
          </a:srgbClr>
        </a:solidFill>
      </dgm:spPr>
      <dgm:t>
        <a:bodyPr/>
        <a:lstStyle/>
        <a:p>
          <a:r>
            <a:rPr lang="en-US" altLang="zh-CN" sz="1200" dirty="0"/>
            <a:t>Mexico</a:t>
          </a:r>
          <a:endParaRPr lang="zh-CN" altLang="en-US" sz="1200" dirty="0"/>
        </a:p>
      </dgm:t>
    </dgm:pt>
    <dgm:pt modelId="{72D33357-9844-4D78-B8BE-E80A6AE9D309}" type="parTrans" cxnId="{17C8E1B4-630C-4562-8AD3-75B8E5B0C78F}">
      <dgm:prSet/>
      <dgm:spPr/>
      <dgm:t>
        <a:bodyPr/>
        <a:lstStyle/>
        <a:p>
          <a:endParaRPr lang="zh-CN" altLang="en-US"/>
        </a:p>
      </dgm:t>
    </dgm:pt>
    <dgm:pt modelId="{ECEEB537-BB91-47FD-ABCF-02301FCD89B8}" type="sibTrans" cxnId="{17C8E1B4-630C-4562-8AD3-75B8E5B0C78F}">
      <dgm:prSet/>
      <dgm:spPr/>
      <dgm:t>
        <a:bodyPr/>
        <a:lstStyle/>
        <a:p>
          <a:endParaRPr lang="zh-CN" altLang="en-US"/>
        </a:p>
      </dgm:t>
    </dgm:pt>
    <dgm:pt modelId="{2067EF92-EE60-4B11-A287-B9B6DEC48405}">
      <dgm:prSet phldrT="[文本]" custT="1"/>
      <dgm:spPr>
        <a:solidFill>
          <a:srgbClr val="A70F2B">
            <a:alpha val="60000"/>
          </a:srgbClr>
        </a:solidFill>
      </dgm:spPr>
      <dgm:t>
        <a:bodyPr/>
        <a:lstStyle/>
        <a:p>
          <a:r>
            <a:rPr lang="en-US" altLang="zh-CN" sz="1200" dirty="0"/>
            <a:t>Peru</a:t>
          </a:r>
          <a:endParaRPr lang="zh-CN" altLang="en-US" sz="1200" dirty="0"/>
        </a:p>
      </dgm:t>
    </dgm:pt>
    <dgm:pt modelId="{EF2D3C5B-4D36-4724-B457-F99C70B1CF3A}" type="parTrans" cxnId="{7C308538-D479-4D69-9556-D63E7BE5FB28}">
      <dgm:prSet/>
      <dgm:spPr/>
      <dgm:t>
        <a:bodyPr/>
        <a:lstStyle/>
        <a:p>
          <a:endParaRPr lang="zh-CN" altLang="en-US"/>
        </a:p>
      </dgm:t>
    </dgm:pt>
    <dgm:pt modelId="{35868BCE-5494-4B4C-992C-29E01D3DAE78}" type="sibTrans" cxnId="{7C308538-D479-4D69-9556-D63E7BE5FB28}">
      <dgm:prSet/>
      <dgm:spPr/>
      <dgm:t>
        <a:bodyPr/>
        <a:lstStyle/>
        <a:p>
          <a:endParaRPr lang="zh-CN" altLang="en-US"/>
        </a:p>
      </dgm:t>
    </dgm:pt>
    <dgm:pt modelId="{E90E1730-8FE0-4E84-8CB2-EB0C6FDF74BA}">
      <dgm:prSet phldrT="[文本]"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Morocco</a:t>
          </a:r>
          <a:endParaRPr lang="zh-CN" altLang="en-US" sz="1200" dirty="0"/>
        </a:p>
      </dgm:t>
    </dgm:pt>
    <dgm:pt modelId="{57947503-9330-41B0-BAEB-0CA94B177EAE}" type="parTrans" cxnId="{23D8F792-8EE1-437F-B4FC-F9D5B776F2FF}">
      <dgm:prSet/>
      <dgm:spPr/>
      <dgm:t>
        <a:bodyPr/>
        <a:lstStyle/>
        <a:p>
          <a:endParaRPr lang="zh-CN" altLang="en-US"/>
        </a:p>
      </dgm:t>
    </dgm:pt>
    <dgm:pt modelId="{9EDF296A-9B66-4C97-9099-E2FA1D99C935}" type="sibTrans" cxnId="{23D8F792-8EE1-437F-B4FC-F9D5B776F2FF}">
      <dgm:prSet/>
      <dgm:spPr/>
      <dgm:t>
        <a:bodyPr/>
        <a:lstStyle/>
        <a:p>
          <a:endParaRPr lang="zh-CN" altLang="en-US"/>
        </a:p>
      </dgm:t>
    </dgm:pt>
    <dgm:pt modelId="{2B8BA691-705E-4B83-90DF-56DB5039C975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Romania</a:t>
          </a:r>
          <a:endParaRPr lang="zh-CN" altLang="en-US" sz="1200" dirty="0"/>
        </a:p>
      </dgm:t>
    </dgm:pt>
    <dgm:pt modelId="{E31CB353-7857-4BB7-BFA6-412CD7EC62C2}" type="parTrans" cxnId="{68F59039-264B-4C13-ADC7-6101A600DCC6}">
      <dgm:prSet/>
      <dgm:spPr/>
      <dgm:t>
        <a:bodyPr/>
        <a:lstStyle/>
        <a:p>
          <a:endParaRPr lang="zh-CN" altLang="en-US"/>
        </a:p>
      </dgm:t>
    </dgm:pt>
    <dgm:pt modelId="{F5DBFEFD-2344-4CAB-B5AD-9DFAA9AC92DD}" type="sibTrans" cxnId="{68F59039-264B-4C13-ADC7-6101A600DCC6}">
      <dgm:prSet/>
      <dgm:spPr/>
      <dgm:t>
        <a:bodyPr/>
        <a:lstStyle/>
        <a:p>
          <a:endParaRPr lang="zh-CN" altLang="en-US"/>
        </a:p>
      </dgm:t>
    </dgm:pt>
    <dgm:pt modelId="{412CA15F-F6F3-4D8D-B4D2-BEC33DC527F0}">
      <dgm:prSet custT="1"/>
      <dgm:spPr>
        <a:solidFill>
          <a:srgbClr val="B87333"/>
        </a:solidFill>
      </dgm:spPr>
      <dgm:t>
        <a:bodyPr/>
        <a:lstStyle/>
        <a:p>
          <a:r>
            <a:rPr lang="en-US" altLang="zh-CN" sz="1200" dirty="0"/>
            <a:t>Germany</a:t>
          </a:r>
          <a:endParaRPr lang="zh-CN" altLang="en-US" sz="1200" dirty="0"/>
        </a:p>
      </dgm:t>
    </dgm:pt>
    <dgm:pt modelId="{6A7C0698-F713-4069-8D7B-FCA52466A329}" type="parTrans" cxnId="{5324D9C2-B896-493B-B018-1C14A21EF4C5}">
      <dgm:prSet/>
      <dgm:spPr/>
      <dgm:t>
        <a:bodyPr/>
        <a:lstStyle/>
        <a:p>
          <a:endParaRPr lang="zh-CN" altLang="en-US"/>
        </a:p>
      </dgm:t>
    </dgm:pt>
    <dgm:pt modelId="{2CB88FB2-1D1A-413B-B6C4-3CFDB4BDD76E}" type="sibTrans" cxnId="{5324D9C2-B896-493B-B018-1C14A21EF4C5}">
      <dgm:prSet/>
      <dgm:spPr/>
      <dgm:t>
        <a:bodyPr/>
        <a:lstStyle/>
        <a:p>
          <a:endParaRPr lang="zh-CN" altLang="en-US"/>
        </a:p>
      </dgm:t>
    </dgm:pt>
    <dgm:pt modelId="{2E0F7971-74B7-4476-B958-72FD12EC5FB0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Belgium</a:t>
          </a:r>
          <a:endParaRPr lang="zh-CN" altLang="en-US" sz="1200" dirty="0"/>
        </a:p>
      </dgm:t>
    </dgm:pt>
    <dgm:pt modelId="{55057CFC-22D6-46BB-819C-555EF2ADC765}" type="parTrans" cxnId="{D676FF8E-5CBB-4870-AE1D-4F086E950A92}">
      <dgm:prSet/>
      <dgm:spPr/>
      <dgm:t>
        <a:bodyPr/>
        <a:lstStyle/>
        <a:p>
          <a:endParaRPr lang="zh-CN" altLang="en-US"/>
        </a:p>
      </dgm:t>
    </dgm:pt>
    <dgm:pt modelId="{A0A0A02A-49C6-461B-9953-F8921DA7EB10}" type="sibTrans" cxnId="{D676FF8E-5CBB-4870-AE1D-4F086E950A92}">
      <dgm:prSet/>
      <dgm:spPr/>
      <dgm:t>
        <a:bodyPr/>
        <a:lstStyle/>
        <a:p>
          <a:endParaRPr lang="zh-CN" altLang="en-US"/>
        </a:p>
      </dgm:t>
    </dgm:pt>
    <dgm:pt modelId="{D7B5ED8D-BFF1-4865-BF38-2BA7A7A7A83C}">
      <dgm:prSet custT="1"/>
      <dgm:spPr>
        <a:solidFill>
          <a:srgbClr val="A70F2B">
            <a:alpha val="89804"/>
          </a:srgbClr>
        </a:solidFill>
      </dgm:spPr>
      <dgm:t>
        <a:bodyPr/>
        <a:lstStyle/>
        <a:p>
          <a:r>
            <a:rPr lang="en-US" altLang="zh-CN" sz="1200" dirty="0"/>
            <a:t>Uruguay</a:t>
          </a:r>
          <a:endParaRPr lang="zh-CN" altLang="en-US" sz="1200" dirty="0"/>
        </a:p>
      </dgm:t>
    </dgm:pt>
    <dgm:pt modelId="{65C90F0F-A727-4396-A95E-EFF78D84E6EE}" type="parTrans" cxnId="{8534D099-584A-4542-ADE8-D9F546975089}">
      <dgm:prSet/>
      <dgm:spPr/>
      <dgm:t>
        <a:bodyPr/>
        <a:lstStyle/>
        <a:p>
          <a:endParaRPr lang="zh-CN" altLang="en-US"/>
        </a:p>
      </dgm:t>
    </dgm:pt>
    <dgm:pt modelId="{CC5E9AC2-666B-4A7B-BB81-DB6A978440D8}" type="sibTrans" cxnId="{8534D099-584A-4542-ADE8-D9F546975089}">
      <dgm:prSet/>
      <dgm:spPr/>
      <dgm:t>
        <a:bodyPr/>
        <a:lstStyle/>
        <a:p>
          <a:endParaRPr lang="zh-CN" altLang="en-US"/>
        </a:p>
      </dgm:t>
    </dgm:pt>
    <dgm:pt modelId="{35BF041E-4879-4BB8-A415-FAE9E77B5885}">
      <dgm:prSet custT="1"/>
      <dgm:spPr>
        <a:solidFill>
          <a:srgbClr val="A70F2B">
            <a:alpha val="50196"/>
          </a:srgbClr>
        </a:solidFill>
      </dgm:spPr>
      <dgm:t>
        <a:bodyPr/>
        <a:lstStyle/>
        <a:p>
          <a:r>
            <a:rPr lang="en-US" altLang="zh-CN" sz="1200" dirty="0"/>
            <a:t>England</a:t>
          </a:r>
          <a:endParaRPr lang="zh-CN" altLang="en-US" sz="1200" dirty="0"/>
        </a:p>
      </dgm:t>
    </dgm:pt>
    <dgm:pt modelId="{EF9FFA54-F16C-4C2F-8378-55FBAACF7240}" type="parTrans" cxnId="{95B028E3-E64A-4977-BF87-EEB3C4B2DCEF}">
      <dgm:prSet/>
      <dgm:spPr/>
      <dgm:t>
        <a:bodyPr/>
        <a:lstStyle/>
        <a:p>
          <a:endParaRPr lang="zh-CN" altLang="en-US"/>
        </a:p>
      </dgm:t>
    </dgm:pt>
    <dgm:pt modelId="{8B84831C-F647-48FC-B6B5-196603C5E524}" type="sibTrans" cxnId="{95B028E3-E64A-4977-BF87-EEB3C4B2DCEF}">
      <dgm:prSet/>
      <dgm:spPr/>
      <dgm:t>
        <a:bodyPr/>
        <a:lstStyle/>
        <a:p>
          <a:endParaRPr lang="zh-CN" altLang="en-US"/>
        </a:p>
      </dgm:t>
    </dgm:pt>
    <dgm:pt modelId="{EE615069-4A12-485D-A295-8AC964F626F9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Bulgaria</a:t>
          </a:r>
          <a:endParaRPr lang="zh-CN" altLang="en-US" sz="1200" dirty="0"/>
        </a:p>
      </dgm:t>
    </dgm:pt>
    <dgm:pt modelId="{C6073E3B-0EA2-4671-BD94-39CDB1AC6941}" type="parTrans" cxnId="{9BFCE48B-9514-44D0-A877-E83D0E0B6FF0}">
      <dgm:prSet/>
      <dgm:spPr/>
      <dgm:t>
        <a:bodyPr/>
        <a:lstStyle/>
        <a:p>
          <a:endParaRPr lang="zh-CN" altLang="en-US"/>
        </a:p>
      </dgm:t>
    </dgm:pt>
    <dgm:pt modelId="{ECE34470-2077-4E04-8489-778A3EA59064}" type="sibTrans" cxnId="{9BFCE48B-9514-44D0-A877-E83D0E0B6FF0}">
      <dgm:prSet/>
      <dgm:spPr/>
      <dgm:t>
        <a:bodyPr/>
        <a:lstStyle/>
        <a:p>
          <a:endParaRPr lang="zh-CN" altLang="en-US"/>
        </a:p>
      </dgm:t>
    </dgm:pt>
    <dgm:pt modelId="{2F5F4761-1595-45B8-93CF-3CF2E601DA18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Czechoslovakia</a:t>
          </a:r>
          <a:endParaRPr lang="zh-CN" altLang="en-US" sz="1200" dirty="0"/>
        </a:p>
      </dgm:t>
    </dgm:pt>
    <dgm:pt modelId="{01D429E9-BB33-401E-BA8B-6723D18305BB}" type="parTrans" cxnId="{E4E17106-140A-47CD-9199-9892C6253372}">
      <dgm:prSet/>
      <dgm:spPr/>
      <dgm:t>
        <a:bodyPr/>
        <a:lstStyle/>
        <a:p>
          <a:endParaRPr lang="zh-CN" altLang="en-US"/>
        </a:p>
      </dgm:t>
    </dgm:pt>
    <dgm:pt modelId="{F3CC023D-7ADD-4F4A-A997-4C041FB4C065}" type="sibTrans" cxnId="{E4E17106-140A-47CD-9199-9892C6253372}">
      <dgm:prSet/>
      <dgm:spPr/>
      <dgm:t>
        <a:bodyPr/>
        <a:lstStyle/>
        <a:p>
          <a:endParaRPr lang="zh-CN" altLang="en-US"/>
        </a:p>
      </dgm:t>
    </dgm:pt>
    <dgm:pt modelId="{EB707103-C570-4D96-BC3E-20921A743B87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Israel</a:t>
          </a:r>
          <a:endParaRPr lang="zh-CN" altLang="en-US" sz="1200" dirty="0"/>
        </a:p>
      </dgm:t>
    </dgm:pt>
    <dgm:pt modelId="{AE9EC862-59F8-4271-888D-13DCA4C901B3}" type="parTrans" cxnId="{6C5A955B-226E-4EE8-963F-70CA9F0B8931}">
      <dgm:prSet/>
      <dgm:spPr/>
      <dgm:t>
        <a:bodyPr/>
        <a:lstStyle/>
        <a:p>
          <a:endParaRPr lang="zh-CN" altLang="en-US"/>
        </a:p>
      </dgm:t>
    </dgm:pt>
    <dgm:pt modelId="{61E27203-7C87-41F4-9EE7-4A4D87A99BE7}" type="sibTrans" cxnId="{6C5A955B-226E-4EE8-963F-70CA9F0B8931}">
      <dgm:prSet/>
      <dgm:spPr/>
      <dgm:t>
        <a:bodyPr/>
        <a:lstStyle/>
        <a:p>
          <a:endParaRPr lang="zh-CN" altLang="en-US"/>
        </a:p>
      </dgm:t>
    </dgm:pt>
    <dgm:pt modelId="{739E056A-E8F4-4AEA-9850-D4882E58F90C}">
      <dgm:prSet custT="1"/>
      <dgm:spPr>
        <a:solidFill>
          <a:srgbClr val="A70F2B">
            <a:alpha val="80000"/>
          </a:srgbClr>
        </a:solidFill>
      </dgm:spPr>
      <dgm:t>
        <a:bodyPr/>
        <a:lstStyle/>
        <a:p>
          <a:r>
            <a:rPr lang="en-US" altLang="zh-CN" sz="1200" dirty="0"/>
            <a:t>Russia</a:t>
          </a:r>
          <a:endParaRPr lang="zh-CN" altLang="en-US" sz="1200" dirty="0"/>
        </a:p>
      </dgm:t>
    </dgm:pt>
    <dgm:pt modelId="{926E996D-CF00-4BBA-9CAB-FA1B1819BF18}" type="parTrans" cxnId="{603088D0-6079-4654-9E1A-05CA23399AF2}">
      <dgm:prSet/>
      <dgm:spPr/>
      <dgm:t>
        <a:bodyPr/>
        <a:lstStyle/>
        <a:p>
          <a:endParaRPr lang="zh-CN" altLang="en-US"/>
        </a:p>
      </dgm:t>
    </dgm:pt>
    <dgm:pt modelId="{EFF19DA0-AFD3-4FD4-B038-9A64B8846C1C}" type="sibTrans" cxnId="{603088D0-6079-4654-9E1A-05CA23399AF2}">
      <dgm:prSet/>
      <dgm:spPr/>
      <dgm:t>
        <a:bodyPr/>
        <a:lstStyle/>
        <a:p>
          <a:endParaRPr lang="zh-CN" altLang="en-US"/>
        </a:p>
      </dgm:t>
    </dgm:pt>
    <dgm:pt modelId="{246A028F-99C4-471A-AEC1-4F04150D89BC}">
      <dgm:prSet custT="1"/>
      <dgm:spPr>
        <a:solidFill>
          <a:srgbClr val="A70F2B">
            <a:alpha val="40000"/>
          </a:srgbClr>
        </a:solidFill>
      </dgm:spPr>
      <dgm:t>
        <a:bodyPr/>
        <a:lstStyle/>
        <a:p>
          <a:r>
            <a:rPr lang="en-US" altLang="zh-CN" sz="1200" dirty="0"/>
            <a:t>El Salvador</a:t>
          </a:r>
          <a:endParaRPr lang="zh-CN" altLang="en-US" sz="1200" dirty="0"/>
        </a:p>
      </dgm:t>
    </dgm:pt>
    <dgm:pt modelId="{789ED2B6-D40E-42E6-9326-654665870429}" type="parTrans" cxnId="{9504BF41-A287-4C95-9F50-163598318D30}">
      <dgm:prSet/>
      <dgm:spPr/>
      <dgm:t>
        <a:bodyPr/>
        <a:lstStyle/>
        <a:p>
          <a:endParaRPr lang="zh-CN" altLang="en-US"/>
        </a:p>
      </dgm:t>
    </dgm:pt>
    <dgm:pt modelId="{5B4CAE5B-F488-4F3F-BAFE-F89684BE843A}" type="sibTrans" cxnId="{9504BF41-A287-4C95-9F50-163598318D30}">
      <dgm:prSet/>
      <dgm:spPr/>
      <dgm:t>
        <a:bodyPr/>
        <a:lstStyle/>
        <a:p>
          <a:endParaRPr lang="zh-CN" altLang="en-US"/>
        </a:p>
      </dgm:t>
    </dgm:pt>
    <dgm:pt modelId="{70317032-9ADE-4E0D-8998-C54B6D1FB258}" type="pres">
      <dgm:prSet presAssocID="{123F791D-613C-4C27-B481-1F4438FF43AA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DAA43E2-64E1-452D-9813-6C932342AF6D}" type="pres">
      <dgm:prSet presAssocID="{CE691EDA-60AC-430A-B42E-A0962DCF736A}" presName="root1" presStyleCnt="0"/>
      <dgm:spPr/>
    </dgm:pt>
    <dgm:pt modelId="{570A2B11-CF70-4FA4-BCF9-84F77AA03EFF}" type="pres">
      <dgm:prSet presAssocID="{CE691EDA-60AC-430A-B42E-A0962DCF736A}" presName="LevelOneTextNode" presStyleLbl="node0" presStyleIdx="0" presStyleCnt="1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769AEC4-B07F-4639-8191-1FF583DC0A90}" type="pres">
      <dgm:prSet presAssocID="{CE691EDA-60AC-430A-B42E-A0962DCF736A}" presName="level2hierChild" presStyleCnt="0"/>
      <dgm:spPr/>
    </dgm:pt>
    <dgm:pt modelId="{DF9A5C10-AC81-4011-86CB-97EA7FF9D2C4}" type="pres">
      <dgm:prSet presAssocID="{CF64C02D-BC85-4A2D-9705-14EEE32304BE}" presName="conn2-1" presStyleLbl="parChTrans1D2" presStyleIdx="0" presStyleCnt="3"/>
      <dgm:spPr/>
      <dgm:t>
        <a:bodyPr/>
        <a:lstStyle/>
        <a:p>
          <a:endParaRPr lang="zh-CN" altLang="en-US"/>
        </a:p>
      </dgm:t>
    </dgm:pt>
    <dgm:pt modelId="{3AFF83E4-BEA4-4FF6-884D-A90C9E1E5C0D}" type="pres">
      <dgm:prSet presAssocID="{CF64C02D-BC85-4A2D-9705-14EEE32304BE}" presName="connTx" presStyleLbl="parChTrans1D2" presStyleIdx="0" presStyleCnt="3"/>
      <dgm:spPr/>
      <dgm:t>
        <a:bodyPr/>
        <a:lstStyle/>
        <a:p>
          <a:endParaRPr lang="zh-CN" altLang="en-US"/>
        </a:p>
      </dgm:t>
    </dgm:pt>
    <dgm:pt modelId="{8B70779B-0F59-4233-A93F-0F82BCD8D0CB}" type="pres">
      <dgm:prSet presAssocID="{B1F211CA-70C6-43A7-A4A2-F51ED95B3C5E}" presName="root2" presStyleCnt="0"/>
      <dgm:spPr/>
    </dgm:pt>
    <dgm:pt modelId="{306B738F-0CEE-496E-90CD-A9906FD52936}" type="pres">
      <dgm:prSet presAssocID="{B1F211CA-70C6-43A7-A4A2-F51ED95B3C5E}" presName="LevelTwoTextNode" presStyleLbl="node2" presStyleIdx="0" presStyleCnt="3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3D5746B-84CB-4190-8DA0-E9E4DE64A7B9}" type="pres">
      <dgm:prSet presAssocID="{B1F211CA-70C6-43A7-A4A2-F51ED95B3C5E}" presName="level3hierChild" presStyleCnt="0"/>
      <dgm:spPr/>
    </dgm:pt>
    <dgm:pt modelId="{D202ACCD-F9EB-4104-ACAF-917CE9B427EA}" type="pres">
      <dgm:prSet presAssocID="{6A7C0698-F713-4069-8D7B-FCA52466A329}" presName="conn2-1" presStyleLbl="parChTrans1D3" presStyleIdx="0" presStyleCnt="4"/>
      <dgm:spPr/>
      <dgm:t>
        <a:bodyPr/>
        <a:lstStyle/>
        <a:p>
          <a:endParaRPr lang="zh-CN" altLang="en-US"/>
        </a:p>
      </dgm:t>
    </dgm:pt>
    <dgm:pt modelId="{AF9BB6D2-845A-42D5-884E-2B6E3D050CCC}" type="pres">
      <dgm:prSet presAssocID="{6A7C0698-F713-4069-8D7B-FCA52466A329}" presName="connTx" presStyleLbl="parChTrans1D3" presStyleIdx="0" presStyleCnt="4"/>
      <dgm:spPr/>
      <dgm:t>
        <a:bodyPr/>
        <a:lstStyle/>
        <a:p>
          <a:endParaRPr lang="zh-CN" altLang="en-US"/>
        </a:p>
      </dgm:t>
    </dgm:pt>
    <dgm:pt modelId="{59B7FE25-2365-4075-BD9E-7F886D5BDB46}" type="pres">
      <dgm:prSet presAssocID="{412CA15F-F6F3-4D8D-B4D2-BEC33DC527F0}" presName="root2" presStyleCnt="0"/>
      <dgm:spPr/>
    </dgm:pt>
    <dgm:pt modelId="{E64DAEAA-3D8E-460B-9370-2A9410E4F20A}" type="pres">
      <dgm:prSet presAssocID="{412CA15F-F6F3-4D8D-B4D2-BEC33DC527F0}" presName="LevelTwoTextNode" presStyleLbl="node3" presStyleIdx="0" presStyleCnt="4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2C33191F-ED4E-458E-97E2-EE5BEF903EF8}" type="pres">
      <dgm:prSet presAssocID="{412CA15F-F6F3-4D8D-B4D2-BEC33DC527F0}" presName="level3hierChild" presStyleCnt="0"/>
      <dgm:spPr/>
    </dgm:pt>
    <dgm:pt modelId="{D504DCE0-053D-4A62-9474-879589CE591B}" type="pres">
      <dgm:prSet presAssocID="{65C90F0F-A727-4396-A95E-EFF78D84E6EE}" presName="conn2-1" presStyleLbl="parChTrans1D4" presStyleIdx="0" presStyleCnt="8"/>
      <dgm:spPr/>
      <dgm:t>
        <a:bodyPr/>
        <a:lstStyle/>
        <a:p>
          <a:endParaRPr lang="zh-CN" altLang="en-US"/>
        </a:p>
      </dgm:t>
    </dgm:pt>
    <dgm:pt modelId="{44A2E2CC-7CE5-4367-9E16-3FD83F951D8D}" type="pres">
      <dgm:prSet presAssocID="{65C90F0F-A727-4396-A95E-EFF78D84E6EE}" presName="connTx" presStyleLbl="parChTrans1D4" presStyleIdx="0" presStyleCnt="8"/>
      <dgm:spPr/>
      <dgm:t>
        <a:bodyPr/>
        <a:lstStyle/>
        <a:p>
          <a:endParaRPr lang="zh-CN" altLang="en-US"/>
        </a:p>
      </dgm:t>
    </dgm:pt>
    <dgm:pt modelId="{CF66B5AA-3FB0-4E0A-BC9F-DAFFA496890D}" type="pres">
      <dgm:prSet presAssocID="{D7B5ED8D-BFF1-4865-BF38-2BA7A7A7A83C}" presName="root2" presStyleCnt="0"/>
      <dgm:spPr/>
    </dgm:pt>
    <dgm:pt modelId="{0C79401B-6B37-47AF-9165-45D388D04662}" type="pres">
      <dgm:prSet presAssocID="{D7B5ED8D-BFF1-4865-BF38-2BA7A7A7A83C}" presName="LevelTwoTextNode" presStyleLbl="node4" presStyleIdx="0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38F122E-94BC-4780-80B2-789F4CE8E61B}" type="pres">
      <dgm:prSet presAssocID="{D7B5ED8D-BFF1-4865-BF38-2BA7A7A7A83C}" presName="level3hierChild" presStyleCnt="0"/>
      <dgm:spPr/>
    </dgm:pt>
    <dgm:pt modelId="{DB12EE53-BC36-471C-B1A8-7E91E2872337}" type="pres">
      <dgm:prSet presAssocID="{926E996D-CF00-4BBA-9CAB-FA1B1819BF18}" presName="conn2-1" presStyleLbl="parChTrans1D4" presStyleIdx="1" presStyleCnt="8"/>
      <dgm:spPr/>
      <dgm:t>
        <a:bodyPr/>
        <a:lstStyle/>
        <a:p>
          <a:endParaRPr lang="zh-CN" altLang="en-US"/>
        </a:p>
      </dgm:t>
    </dgm:pt>
    <dgm:pt modelId="{A96A39BB-C8DE-47F6-80D6-85E93574B588}" type="pres">
      <dgm:prSet presAssocID="{926E996D-CF00-4BBA-9CAB-FA1B1819BF18}" presName="connTx" presStyleLbl="parChTrans1D4" presStyleIdx="1" presStyleCnt="8"/>
      <dgm:spPr/>
      <dgm:t>
        <a:bodyPr/>
        <a:lstStyle/>
        <a:p>
          <a:endParaRPr lang="zh-CN" altLang="en-US"/>
        </a:p>
      </dgm:t>
    </dgm:pt>
    <dgm:pt modelId="{41CC8CA8-DA0A-420F-B69A-0937C71FF61F}" type="pres">
      <dgm:prSet presAssocID="{739E056A-E8F4-4AEA-9850-D4882E58F90C}" presName="root2" presStyleCnt="0"/>
      <dgm:spPr/>
    </dgm:pt>
    <dgm:pt modelId="{B76DAD79-0E7C-46DD-B281-D775F7A2F1EA}" type="pres">
      <dgm:prSet presAssocID="{739E056A-E8F4-4AEA-9850-D4882E58F90C}" presName="LevelTwoTextNode" presStyleLbl="node4" presStyleIdx="1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931CC39-26C1-4ECF-8BC4-0C8EA66919AA}" type="pres">
      <dgm:prSet presAssocID="{739E056A-E8F4-4AEA-9850-D4882E58F90C}" presName="level3hierChild" presStyleCnt="0"/>
      <dgm:spPr/>
    </dgm:pt>
    <dgm:pt modelId="{EC192A35-7BE1-46C3-906B-F7B4E27C4270}" type="pres">
      <dgm:prSet presAssocID="{789ED2B6-D40E-42E6-9326-654665870429}" presName="conn2-1" presStyleLbl="parChTrans1D4" presStyleIdx="2" presStyleCnt="8"/>
      <dgm:spPr/>
      <dgm:t>
        <a:bodyPr/>
        <a:lstStyle/>
        <a:p>
          <a:endParaRPr lang="zh-CN" altLang="en-US"/>
        </a:p>
      </dgm:t>
    </dgm:pt>
    <dgm:pt modelId="{A044E9A9-7E77-4861-B651-EE77704DDA7E}" type="pres">
      <dgm:prSet presAssocID="{789ED2B6-D40E-42E6-9326-654665870429}" presName="connTx" presStyleLbl="parChTrans1D4" presStyleIdx="2" presStyleCnt="8"/>
      <dgm:spPr/>
      <dgm:t>
        <a:bodyPr/>
        <a:lstStyle/>
        <a:p>
          <a:endParaRPr lang="zh-CN" altLang="en-US"/>
        </a:p>
      </dgm:t>
    </dgm:pt>
    <dgm:pt modelId="{77B95DD0-1E49-4AB8-85D1-F0F2F9A59431}" type="pres">
      <dgm:prSet presAssocID="{246A028F-99C4-471A-AEC1-4F04150D89BC}" presName="root2" presStyleCnt="0"/>
      <dgm:spPr/>
    </dgm:pt>
    <dgm:pt modelId="{0ED6CC25-016F-45CF-AAEF-EFCA1195D195}" type="pres">
      <dgm:prSet presAssocID="{246A028F-99C4-471A-AEC1-4F04150D89BC}" presName="LevelTwoTextNode" presStyleLbl="node4" presStyleIdx="2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DE00D507-BD68-4CE2-B18D-86F5B94FEA1F}" type="pres">
      <dgm:prSet presAssocID="{246A028F-99C4-471A-AEC1-4F04150D89BC}" presName="level3hierChild" presStyleCnt="0"/>
      <dgm:spPr/>
    </dgm:pt>
    <dgm:pt modelId="{CD5BEAEE-348C-499A-8555-46A66F64F625}" type="pres">
      <dgm:prSet presAssocID="{AE9EC862-59F8-4271-888D-13DCA4C901B3}" presName="conn2-1" presStyleLbl="parChTrans1D4" presStyleIdx="3" presStyleCnt="8"/>
      <dgm:spPr/>
      <dgm:t>
        <a:bodyPr/>
        <a:lstStyle/>
        <a:p>
          <a:endParaRPr lang="zh-CN" altLang="en-US"/>
        </a:p>
      </dgm:t>
    </dgm:pt>
    <dgm:pt modelId="{8BFACFA1-C712-4985-AB95-EB289B3695C8}" type="pres">
      <dgm:prSet presAssocID="{AE9EC862-59F8-4271-888D-13DCA4C901B3}" presName="connTx" presStyleLbl="parChTrans1D4" presStyleIdx="3" presStyleCnt="8"/>
      <dgm:spPr/>
      <dgm:t>
        <a:bodyPr/>
        <a:lstStyle/>
        <a:p>
          <a:endParaRPr lang="zh-CN" altLang="en-US"/>
        </a:p>
      </dgm:t>
    </dgm:pt>
    <dgm:pt modelId="{399572B3-18A4-4EFF-A4DE-22367DF6C8CF}" type="pres">
      <dgm:prSet presAssocID="{EB707103-C570-4D96-BC3E-20921A743B87}" presName="root2" presStyleCnt="0"/>
      <dgm:spPr/>
    </dgm:pt>
    <dgm:pt modelId="{EDB51EC2-6B3B-4C9D-A523-D8A14FD05640}" type="pres">
      <dgm:prSet presAssocID="{EB707103-C570-4D96-BC3E-20921A743B87}" presName="LevelTwoTextNode" presStyleLbl="node4" presStyleIdx="3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486CE6F-746D-436B-9872-A8BD33037F5B}" type="pres">
      <dgm:prSet presAssocID="{EB707103-C570-4D96-BC3E-20921A743B87}" presName="level3hierChild" presStyleCnt="0"/>
      <dgm:spPr/>
    </dgm:pt>
    <dgm:pt modelId="{38946E34-192C-4AA1-A58D-2F8DF1D3EB27}" type="pres">
      <dgm:prSet presAssocID="{EF9FFA54-F16C-4C2F-8378-55FBAACF7240}" presName="conn2-1" presStyleLbl="parChTrans1D4" presStyleIdx="4" presStyleCnt="8"/>
      <dgm:spPr/>
      <dgm:t>
        <a:bodyPr/>
        <a:lstStyle/>
        <a:p>
          <a:endParaRPr lang="zh-CN" altLang="en-US"/>
        </a:p>
      </dgm:t>
    </dgm:pt>
    <dgm:pt modelId="{CEBA1019-4AB2-458C-A578-DB989406E9DE}" type="pres">
      <dgm:prSet presAssocID="{EF9FFA54-F16C-4C2F-8378-55FBAACF7240}" presName="connTx" presStyleLbl="parChTrans1D4" presStyleIdx="4" presStyleCnt="8"/>
      <dgm:spPr/>
      <dgm:t>
        <a:bodyPr/>
        <a:lstStyle/>
        <a:p>
          <a:endParaRPr lang="zh-CN" altLang="en-US"/>
        </a:p>
      </dgm:t>
    </dgm:pt>
    <dgm:pt modelId="{1ABE2ED7-DCB5-4D2D-A1BD-FE7E51B30D8B}" type="pres">
      <dgm:prSet presAssocID="{35BF041E-4879-4BB8-A415-FAE9E77B5885}" presName="root2" presStyleCnt="0"/>
      <dgm:spPr/>
    </dgm:pt>
    <dgm:pt modelId="{AB5AF07F-902B-4A27-BCF5-819C49EB72A3}" type="pres">
      <dgm:prSet presAssocID="{35BF041E-4879-4BB8-A415-FAE9E77B5885}" presName="LevelTwoTextNode" presStyleLbl="node4" presStyleIdx="4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FBA97EE-4788-4F9F-99F4-275C244A112E}" type="pres">
      <dgm:prSet presAssocID="{35BF041E-4879-4BB8-A415-FAE9E77B5885}" presName="level3hierChild" presStyleCnt="0"/>
      <dgm:spPr/>
    </dgm:pt>
    <dgm:pt modelId="{F5A8CA64-6DFE-4344-8412-2CB9808FAFDC}" type="pres">
      <dgm:prSet presAssocID="{01D429E9-BB33-401E-BA8B-6723D18305BB}" presName="conn2-1" presStyleLbl="parChTrans1D4" presStyleIdx="5" presStyleCnt="8"/>
      <dgm:spPr/>
      <dgm:t>
        <a:bodyPr/>
        <a:lstStyle/>
        <a:p>
          <a:endParaRPr lang="zh-CN" altLang="en-US"/>
        </a:p>
      </dgm:t>
    </dgm:pt>
    <dgm:pt modelId="{6B9D5136-5FC7-49DA-BC49-49E49B797073}" type="pres">
      <dgm:prSet presAssocID="{01D429E9-BB33-401E-BA8B-6723D18305BB}" presName="connTx" presStyleLbl="parChTrans1D4" presStyleIdx="5" presStyleCnt="8"/>
      <dgm:spPr/>
      <dgm:t>
        <a:bodyPr/>
        <a:lstStyle/>
        <a:p>
          <a:endParaRPr lang="zh-CN" altLang="en-US"/>
        </a:p>
      </dgm:t>
    </dgm:pt>
    <dgm:pt modelId="{BB76E03E-BF27-4B75-93F7-5809507E2445}" type="pres">
      <dgm:prSet presAssocID="{2F5F4761-1595-45B8-93CF-3CF2E601DA18}" presName="root2" presStyleCnt="0"/>
      <dgm:spPr/>
    </dgm:pt>
    <dgm:pt modelId="{32028774-27E6-421D-A3B6-0BA87B3B2EB8}" type="pres">
      <dgm:prSet presAssocID="{2F5F4761-1595-45B8-93CF-3CF2E601DA18}" presName="LevelTwoTextNode" presStyleLbl="node4" presStyleIdx="5" presStyleCnt="8" custScaleX="133455" custScaleY="49264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A9D9DB0-CACE-4916-AAF1-D13350FA9463}" type="pres">
      <dgm:prSet presAssocID="{2F5F4761-1595-45B8-93CF-3CF2E601DA18}" presName="level3hierChild" presStyleCnt="0"/>
      <dgm:spPr/>
    </dgm:pt>
    <dgm:pt modelId="{23619E19-073B-4CC4-8B2E-57B3A11165EF}" type="pres">
      <dgm:prSet presAssocID="{C6073E3B-0EA2-4671-BD94-39CDB1AC6941}" presName="conn2-1" presStyleLbl="parChTrans1D4" presStyleIdx="6" presStyleCnt="8"/>
      <dgm:spPr/>
      <dgm:t>
        <a:bodyPr/>
        <a:lstStyle/>
        <a:p>
          <a:endParaRPr lang="zh-CN" altLang="en-US"/>
        </a:p>
      </dgm:t>
    </dgm:pt>
    <dgm:pt modelId="{A4512643-94EF-445D-9A58-6DB60B02B2C5}" type="pres">
      <dgm:prSet presAssocID="{C6073E3B-0EA2-4671-BD94-39CDB1AC6941}" presName="connTx" presStyleLbl="parChTrans1D4" presStyleIdx="6" presStyleCnt="8"/>
      <dgm:spPr/>
      <dgm:t>
        <a:bodyPr/>
        <a:lstStyle/>
        <a:p>
          <a:endParaRPr lang="zh-CN" altLang="en-US"/>
        </a:p>
      </dgm:t>
    </dgm:pt>
    <dgm:pt modelId="{2EB9F67F-BAE6-41C2-B868-2CB46488FEC5}" type="pres">
      <dgm:prSet presAssocID="{EE615069-4A12-485D-A295-8AC964F626F9}" presName="root2" presStyleCnt="0"/>
      <dgm:spPr/>
    </dgm:pt>
    <dgm:pt modelId="{0FE8D9A9-802A-478B-BEEC-C0A50944153E}" type="pres">
      <dgm:prSet presAssocID="{EE615069-4A12-485D-A295-8AC964F626F9}" presName="LevelTwoTextNode" presStyleLbl="node4" presStyleIdx="6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DD19C3C-9FEC-443F-A6AE-D73DE5E96D7D}" type="pres">
      <dgm:prSet presAssocID="{EE615069-4A12-485D-A295-8AC964F626F9}" presName="level3hierChild" presStyleCnt="0"/>
      <dgm:spPr/>
    </dgm:pt>
    <dgm:pt modelId="{9692AA10-AC4E-4C35-A9A9-990144B98993}" type="pres">
      <dgm:prSet presAssocID="{72D33357-9844-4D78-B8BE-E80A6AE9D309}" presName="conn2-1" presStyleLbl="parChTrans1D3" presStyleIdx="1" presStyleCnt="4"/>
      <dgm:spPr/>
      <dgm:t>
        <a:bodyPr/>
        <a:lstStyle/>
        <a:p>
          <a:endParaRPr lang="zh-CN" altLang="en-US"/>
        </a:p>
      </dgm:t>
    </dgm:pt>
    <dgm:pt modelId="{18864F57-019A-4D2B-8A84-41DAA175E5C5}" type="pres">
      <dgm:prSet presAssocID="{72D33357-9844-4D78-B8BE-E80A6AE9D309}" presName="connTx" presStyleLbl="parChTrans1D3" presStyleIdx="1" presStyleCnt="4"/>
      <dgm:spPr/>
      <dgm:t>
        <a:bodyPr/>
        <a:lstStyle/>
        <a:p>
          <a:endParaRPr lang="zh-CN" altLang="en-US"/>
        </a:p>
      </dgm:t>
    </dgm:pt>
    <dgm:pt modelId="{58C89B4B-6263-42D7-A543-37A6C9454474}" type="pres">
      <dgm:prSet presAssocID="{62328106-104D-4B5C-B620-0B6720FCD858}" presName="root2" presStyleCnt="0"/>
      <dgm:spPr/>
    </dgm:pt>
    <dgm:pt modelId="{6DD6D406-E66E-46AB-B5AB-7DD8AE8FCA5C}" type="pres">
      <dgm:prSet presAssocID="{62328106-104D-4B5C-B620-0B6720FCD858}" presName="LevelTwoTextNode" presStyleLbl="node3" presStyleIdx="1" presStyleCnt="4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9F3287BB-3550-4227-8B31-85863401D877}" type="pres">
      <dgm:prSet presAssocID="{62328106-104D-4B5C-B620-0B6720FCD858}" presName="level3hierChild" presStyleCnt="0"/>
      <dgm:spPr/>
    </dgm:pt>
    <dgm:pt modelId="{2EBFE7EB-A050-4C8B-BE66-322A4D5463F5}" type="pres">
      <dgm:prSet presAssocID="{55057CFC-22D6-46BB-819C-555EF2ADC765}" presName="conn2-1" presStyleLbl="parChTrans1D4" presStyleIdx="7" presStyleCnt="8"/>
      <dgm:spPr/>
      <dgm:t>
        <a:bodyPr/>
        <a:lstStyle/>
        <a:p>
          <a:endParaRPr lang="zh-CN" altLang="en-US"/>
        </a:p>
      </dgm:t>
    </dgm:pt>
    <dgm:pt modelId="{53F373C2-2D22-4111-9EB1-75B7D437258A}" type="pres">
      <dgm:prSet presAssocID="{55057CFC-22D6-46BB-819C-555EF2ADC765}" presName="connTx" presStyleLbl="parChTrans1D4" presStyleIdx="7" presStyleCnt="8"/>
      <dgm:spPr/>
      <dgm:t>
        <a:bodyPr/>
        <a:lstStyle/>
        <a:p>
          <a:endParaRPr lang="zh-CN" altLang="en-US"/>
        </a:p>
      </dgm:t>
    </dgm:pt>
    <dgm:pt modelId="{5474BF69-1F02-422F-B27C-5EA11FE4B255}" type="pres">
      <dgm:prSet presAssocID="{2E0F7971-74B7-4476-B958-72FD12EC5FB0}" presName="root2" presStyleCnt="0"/>
      <dgm:spPr/>
    </dgm:pt>
    <dgm:pt modelId="{19A9F100-E43B-4D0B-BD25-A466EA7D7325}" type="pres">
      <dgm:prSet presAssocID="{2E0F7971-74B7-4476-B958-72FD12EC5FB0}" presName="LevelTwoTextNode" presStyleLbl="node4" presStyleIdx="7" presStyleCnt="8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E767810A-648C-4C44-AE7B-AB05AB2C74C0}" type="pres">
      <dgm:prSet presAssocID="{2E0F7971-74B7-4476-B958-72FD12EC5FB0}" presName="level3hierChild" presStyleCnt="0"/>
      <dgm:spPr/>
    </dgm:pt>
    <dgm:pt modelId="{61D97BD4-5E0B-4F18-86D3-6088900BFAA7}" type="pres">
      <dgm:prSet presAssocID="{68A60494-2897-468F-8A2E-FDA909625E31}" presName="conn2-1" presStyleLbl="parChTrans1D3" presStyleIdx="2" presStyleCnt="4"/>
      <dgm:spPr/>
      <dgm:t>
        <a:bodyPr/>
        <a:lstStyle/>
        <a:p>
          <a:endParaRPr lang="zh-CN" altLang="en-US"/>
        </a:p>
      </dgm:t>
    </dgm:pt>
    <dgm:pt modelId="{5F18BF64-5A71-4E3B-B085-2DBD73BA0F52}" type="pres">
      <dgm:prSet presAssocID="{68A60494-2897-468F-8A2E-FDA909625E31}" presName="connTx" presStyleLbl="parChTrans1D3" presStyleIdx="2" presStyleCnt="4"/>
      <dgm:spPr/>
      <dgm:t>
        <a:bodyPr/>
        <a:lstStyle/>
        <a:p>
          <a:endParaRPr lang="zh-CN" altLang="en-US"/>
        </a:p>
      </dgm:t>
    </dgm:pt>
    <dgm:pt modelId="{7C4EF99A-3A33-46B3-A99B-4B88F6264463}" type="pres">
      <dgm:prSet presAssocID="{82139329-B3C0-49B5-9B85-0DB6D749993D}" presName="root2" presStyleCnt="0"/>
      <dgm:spPr/>
    </dgm:pt>
    <dgm:pt modelId="{2462460C-7B64-439E-8693-820D88DBA603}" type="pres">
      <dgm:prSet presAssocID="{82139329-B3C0-49B5-9B85-0DB6D749993D}" presName="LevelTwoTextNode" presStyleLbl="node3" presStyleIdx="2" presStyleCnt="4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C081A5D-7CDF-4CE5-8101-AB3EAA79D393}" type="pres">
      <dgm:prSet presAssocID="{82139329-B3C0-49B5-9B85-0DB6D749993D}" presName="level3hierChild" presStyleCnt="0"/>
      <dgm:spPr/>
    </dgm:pt>
    <dgm:pt modelId="{D6FE1050-838F-46EA-A5FB-EB03A81DE7B8}" type="pres">
      <dgm:prSet presAssocID="{EF2D3C5B-4D36-4724-B457-F99C70B1CF3A}" presName="conn2-1" presStyleLbl="parChTrans1D2" presStyleIdx="1" presStyleCnt="3"/>
      <dgm:spPr/>
      <dgm:t>
        <a:bodyPr/>
        <a:lstStyle/>
        <a:p>
          <a:endParaRPr lang="zh-CN" altLang="en-US"/>
        </a:p>
      </dgm:t>
    </dgm:pt>
    <dgm:pt modelId="{0C084573-3561-4318-85D1-7A5DC13259A9}" type="pres">
      <dgm:prSet presAssocID="{EF2D3C5B-4D36-4724-B457-F99C70B1CF3A}" presName="connTx" presStyleLbl="parChTrans1D2" presStyleIdx="1" presStyleCnt="3"/>
      <dgm:spPr/>
      <dgm:t>
        <a:bodyPr/>
        <a:lstStyle/>
        <a:p>
          <a:endParaRPr lang="zh-CN" altLang="en-US"/>
        </a:p>
      </dgm:t>
    </dgm:pt>
    <dgm:pt modelId="{780E13E2-B6BA-461E-8DD1-C88F3DB5071E}" type="pres">
      <dgm:prSet presAssocID="{2067EF92-EE60-4B11-A287-B9B6DEC48405}" presName="root2" presStyleCnt="0"/>
      <dgm:spPr/>
    </dgm:pt>
    <dgm:pt modelId="{DB02690A-437F-4970-9CB4-60D69E0E3262}" type="pres">
      <dgm:prSet presAssocID="{2067EF92-EE60-4B11-A287-B9B6DEC48405}" presName="LevelTwoTextNode" presStyleLbl="node2" presStyleIdx="1" presStyleCnt="3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60BFB12-C105-41BD-A83D-C3EA77DD232F}" type="pres">
      <dgm:prSet presAssocID="{2067EF92-EE60-4B11-A287-B9B6DEC48405}" presName="level3hierChild" presStyleCnt="0"/>
      <dgm:spPr/>
    </dgm:pt>
    <dgm:pt modelId="{29601B14-DFDD-4DD4-BC34-AC7B5688271D}" type="pres">
      <dgm:prSet presAssocID="{57947503-9330-41B0-BAEB-0CA94B177EAE}" presName="conn2-1" presStyleLbl="parChTrans1D3" presStyleIdx="3" presStyleCnt="4"/>
      <dgm:spPr/>
      <dgm:t>
        <a:bodyPr/>
        <a:lstStyle/>
        <a:p>
          <a:endParaRPr lang="zh-CN" altLang="en-US"/>
        </a:p>
      </dgm:t>
    </dgm:pt>
    <dgm:pt modelId="{B28E8C67-64D3-46FA-BBD3-E8BAD5D2CC2D}" type="pres">
      <dgm:prSet presAssocID="{57947503-9330-41B0-BAEB-0CA94B177EAE}" presName="connTx" presStyleLbl="parChTrans1D3" presStyleIdx="3" presStyleCnt="4"/>
      <dgm:spPr/>
      <dgm:t>
        <a:bodyPr/>
        <a:lstStyle/>
        <a:p>
          <a:endParaRPr lang="zh-CN" altLang="en-US"/>
        </a:p>
      </dgm:t>
    </dgm:pt>
    <dgm:pt modelId="{5D000A7D-05D5-4602-B0DC-DCACD8A783BD}" type="pres">
      <dgm:prSet presAssocID="{E90E1730-8FE0-4E84-8CB2-EB0C6FDF74BA}" presName="root2" presStyleCnt="0"/>
      <dgm:spPr/>
    </dgm:pt>
    <dgm:pt modelId="{63A3E43A-7B8A-42D2-87AC-718D6B7084BE}" type="pres">
      <dgm:prSet presAssocID="{E90E1730-8FE0-4E84-8CB2-EB0C6FDF74BA}" presName="LevelTwoTextNode" presStyleLbl="node3" presStyleIdx="3" presStyleCnt="4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20485A7-D5C0-4273-9CAF-D2D7D34431F7}" type="pres">
      <dgm:prSet presAssocID="{E90E1730-8FE0-4E84-8CB2-EB0C6FDF74BA}" presName="level3hierChild" presStyleCnt="0"/>
      <dgm:spPr/>
    </dgm:pt>
    <dgm:pt modelId="{F3DED03D-F0AF-4AAF-89C2-8073DD8FA99F}" type="pres">
      <dgm:prSet presAssocID="{E31CB353-7857-4BB7-BFA6-412CD7EC62C2}" presName="conn2-1" presStyleLbl="parChTrans1D2" presStyleIdx="2" presStyleCnt="3"/>
      <dgm:spPr/>
      <dgm:t>
        <a:bodyPr/>
        <a:lstStyle/>
        <a:p>
          <a:endParaRPr lang="zh-CN" altLang="en-US"/>
        </a:p>
      </dgm:t>
    </dgm:pt>
    <dgm:pt modelId="{17348B4A-0262-4740-A40F-E74591B30D5A}" type="pres">
      <dgm:prSet presAssocID="{E31CB353-7857-4BB7-BFA6-412CD7EC62C2}" presName="connTx" presStyleLbl="parChTrans1D2" presStyleIdx="2" presStyleCnt="3"/>
      <dgm:spPr/>
      <dgm:t>
        <a:bodyPr/>
        <a:lstStyle/>
        <a:p>
          <a:endParaRPr lang="zh-CN" altLang="en-US"/>
        </a:p>
      </dgm:t>
    </dgm:pt>
    <dgm:pt modelId="{B1B64B60-F575-4C8D-927D-7376C1BED0B4}" type="pres">
      <dgm:prSet presAssocID="{2B8BA691-705E-4B83-90DF-56DB5039C975}" presName="root2" presStyleCnt="0"/>
      <dgm:spPr/>
    </dgm:pt>
    <dgm:pt modelId="{C07F7209-F00C-42C4-A64F-63684EEEEF1D}" type="pres">
      <dgm:prSet presAssocID="{2B8BA691-705E-4B83-90DF-56DB5039C975}" presName="LevelTwoTextNode" presStyleLbl="node2" presStyleIdx="2" presStyleCnt="3" custScaleY="55075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3385177E-1170-419C-8DE4-03873B60694F}" type="pres">
      <dgm:prSet presAssocID="{2B8BA691-705E-4B83-90DF-56DB5039C975}" presName="level3hierChild" presStyleCnt="0"/>
      <dgm:spPr/>
    </dgm:pt>
  </dgm:ptLst>
  <dgm:cxnLst>
    <dgm:cxn modelId="{D16018D2-4D98-40FB-AEB8-2CB92B2AE744}" type="presOf" srcId="{01D429E9-BB33-401E-BA8B-6723D18305BB}" destId="{F5A8CA64-6DFE-4344-8412-2CB9808FAFDC}" srcOrd="0" destOrd="0" presId="urn:microsoft.com/office/officeart/2005/8/layout/hierarchy2"/>
    <dgm:cxn modelId="{FE106111-4D7E-451B-A452-DBEFC5F0C138}" type="presOf" srcId="{68A60494-2897-468F-8A2E-FDA909625E31}" destId="{5F18BF64-5A71-4E3B-B085-2DBD73BA0F52}" srcOrd="1" destOrd="0" presId="urn:microsoft.com/office/officeart/2005/8/layout/hierarchy2"/>
    <dgm:cxn modelId="{C486A29F-A11C-4E73-A6B9-6D68CEFBEAEA}" type="presOf" srcId="{739E056A-E8F4-4AEA-9850-D4882E58F90C}" destId="{B76DAD79-0E7C-46DD-B281-D775F7A2F1EA}" srcOrd="0" destOrd="0" presId="urn:microsoft.com/office/officeart/2005/8/layout/hierarchy2"/>
    <dgm:cxn modelId="{5324D9C2-B896-493B-B018-1C14A21EF4C5}" srcId="{B1F211CA-70C6-43A7-A4A2-F51ED95B3C5E}" destId="{412CA15F-F6F3-4D8D-B4D2-BEC33DC527F0}" srcOrd="0" destOrd="0" parTransId="{6A7C0698-F713-4069-8D7B-FCA52466A329}" sibTransId="{2CB88FB2-1D1A-413B-B6C4-3CFDB4BDD76E}"/>
    <dgm:cxn modelId="{603088D0-6079-4654-9E1A-05CA23399AF2}" srcId="{D7B5ED8D-BFF1-4865-BF38-2BA7A7A7A83C}" destId="{739E056A-E8F4-4AEA-9850-D4882E58F90C}" srcOrd="0" destOrd="0" parTransId="{926E996D-CF00-4BBA-9CAB-FA1B1819BF18}" sibTransId="{EFF19DA0-AFD3-4FD4-B038-9A64B8846C1C}"/>
    <dgm:cxn modelId="{6FD40CEE-45EF-4BA3-BE8C-B6FDAC3B1086}" type="presOf" srcId="{82139329-B3C0-49B5-9B85-0DB6D749993D}" destId="{2462460C-7B64-439E-8693-820D88DBA603}" srcOrd="0" destOrd="0" presId="urn:microsoft.com/office/officeart/2005/8/layout/hierarchy2"/>
    <dgm:cxn modelId="{62A62A3F-5B4E-461F-AC87-759C853B5642}" type="presOf" srcId="{926E996D-CF00-4BBA-9CAB-FA1B1819BF18}" destId="{A96A39BB-C8DE-47F6-80D6-85E93574B588}" srcOrd="1" destOrd="0" presId="urn:microsoft.com/office/officeart/2005/8/layout/hierarchy2"/>
    <dgm:cxn modelId="{1FAC7372-C465-4C2A-93E9-50C454A4EFA4}" type="presOf" srcId="{62328106-104D-4B5C-B620-0B6720FCD858}" destId="{6DD6D406-E66E-46AB-B5AB-7DD8AE8FCA5C}" srcOrd="0" destOrd="0" presId="urn:microsoft.com/office/officeart/2005/8/layout/hierarchy2"/>
    <dgm:cxn modelId="{57AA18B6-CD60-4F04-83A0-659B2CE3D0DD}" type="presOf" srcId="{EF9FFA54-F16C-4C2F-8378-55FBAACF7240}" destId="{CEBA1019-4AB2-458C-A578-DB989406E9DE}" srcOrd="1" destOrd="0" presId="urn:microsoft.com/office/officeart/2005/8/layout/hierarchy2"/>
    <dgm:cxn modelId="{26113E92-1EBE-40DB-80E3-7D5B25D00258}" type="presOf" srcId="{55057CFC-22D6-46BB-819C-555EF2ADC765}" destId="{53F373C2-2D22-4111-9EB1-75B7D437258A}" srcOrd="1" destOrd="0" presId="urn:microsoft.com/office/officeart/2005/8/layout/hierarchy2"/>
    <dgm:cxn modelId="{77D04201-3442-420E-BFCC-5E5AE20A3CCF}" type="presOf" srcId="{AE9EC862-59F8-4271-888D-13DCA4C901B3}" destId="{8BFACFA1-C712-4985-AB95-EB289B3695C8}" srcOrd="1" destOrd="0" presId="urn:microsoft.com/office/officeart/2005/8/layout/hierarchy2"/>
    <dgm:cxn modelId="{BA172548-5324-4960-A8C0-F3E99EBF6EAD}" type="presOf" srcId="{57947503-9330-41B0-BAEB-0CA94B177EAE}" destId="{29601B14-DFDD-4DD4-BC34-AC7B5688271D}" srcOrd="0" destOrd="0" presId="urn:microsoft.com/office/officeart/2005/8/layout/hierarchy2"/>
    <dgm:cxn modelId="{0868D429-1355-4EBD-BBED-2452CEBB0DA0}" type="presOf" srcId="{35BF041E-4879-4BB8-A415-FAE9E77B5885}" destId="{AB5AF07F-902B-4A27-BCF5-819C49EB72A3}" srcOrd="0" destOrd="0" presId="urn:microsoft.com/office/officeart/2005/8/layout/hierarchy2"/>
    <dgm:cxn modelId="{96C0322B-C5C0-4661-969C-6857D8218358}" type="presOf" srcId="{CF64C02D-BC85-4A2D-9705-14EEE32304BE}" destId="{3AFF83E4-BEA4-4FF6-884D-A90C9E1E5C0D}" srcOrd="1" destOrd="0" presId="urn:microsoft.com/office/officeart/2005/8/layout/hierarchy2"/>
    <dgm:cxn modelId="{25E80D60-DA45-4DE9-B98F-28D54A65DF14}" type="presOf" srcId="{EE615069-4A12-485D-A295-8AC964F626F9}" destId="{0FE8D9A9-802A-478B-BEEC-C0A50944153E}" srcOrd="0" destOrd="0" presId="urn:microsoft.com/office/officeart/2005/8/layout/hierarchy2"/>
    <dgm:cxn modelId="{687D8EB2-876F-4395-8E2B-02A45ADF83A9}" type="presOf" srcId="{72D33357-9844-4D78-B8BE-E80A6AE9D309}" destId="{9692AA10-AC4E-4C35-A9A9-990144B98993}" srcOrd="0" destOrd="0" presId="urn:microsoft.com/office/officeart/2005/8/layout/hierarchy2"/>
    <dgm:cxn modelId="{6077A833-E649-4EE9-B408-7071C8DA434F}" type="presOf" srcId="{926E996D-CF00-4BBA-9CAB-FA1B1819BF18}" destId="{DB12EE53-BC36-471C-B1A8-7E91E2872337}" srcOrd="0" destOrd="0" presId="urn:microsoft.com/office/officeart/2005/8/layout/hierarchy2"/>
    <dgm:cxn modelId="{A7B9AEEB-AEBA-4E6A-B16C-3E499D789FA9}" type="presOf" srcId="{EF2D3C5B-4D36-4724-B457-F99C70B1CF3A}" destId="{0C084573-3561-4318-85D1-7A5DC13259A9}" srcOrd="1" destOrd="0" presId="urn:microsoft.com/office/officeart/2005/8/layout/hierarchy2"/>
    <dgm:cxn modelId="{C7F46926-065E-4E6B-A503-8CD8E8940419}" type="presOf" srcId="{68A60494-2897-468F-8A2E-FDA909625E31}" destId="{61D97BD4-5E0B-4F18-86D3-6088900BFAA7}" srcOrd="0" destOrd="0" presId="urn:microsoft.com/office/officeart/2005/8/layout/hierarchy2"/>
    <dgm:cxn modelId="{4927EA4B-CD2B-4EE4-B51C-51FABCF4C5E3}" type="presOf" srcId="{412CA15F-F6F3-4D8D-B4D2-BEC33DC527F0}" destId="{E64DAEAA-3D8E-460B-9370-2A9410E4F20A}" srcOrd="0" destOrd="0" presId="urn:microsoft.com/office/officeart/2005/8/layout/hierarchy2"/>
    <dgm:cxn modelId="{23D8F792-8EE1-437F-B4FC-F9D5B776F2FF}" srcId="{2067EF92-EE60-4B11-A287-B9B6DEC48405}" destId="{E90E1730-8FE0-4E84-8CB2-EB0C6FDF74BA}" srcOrd="0" destOrd="0" parTransId="{57947503-9330-41B0-BAEB-0CA94B177EAE}" sibTransId="{9EDF296A-9B66-4C97-9099-E2FA1D99C935}"/>
    <dgm:cxn modelId="{BB8A09AA-8E07-458C-8E44-A1EDCB1CB899}" srcId="{B1F211CA-70C6-43A7-A4A2-F51ED95B3C5E}" destId="{82139329-B3C0-49B5-9B85-0DB6D749993D}" srcOrd="2" destOrd="0" parTransId="{68A60494-2897-468F-8A2E-FDA909625E31}" sibTransId="{6DA966AD-62EC-4C1E-BCAE-B7889B354184}"/>
    <dgm:cxn modelId="{17C8E1B4-630C-4562-8AD3-75B8E5B0C78F}" srcId="{B1F211CA-70C6-43A7-A4A2-F51ED95B3C5E}" destId="{62328106-104D-4B5C-B620-0B6720FCD858}" srcOrd="1" destOrd="0" parTransId="{72D33357-9844-4D78-B8BE-E80A6AE9D309}" sibTransId="{ECEEB537-BB91-47FD-ABCF-02301FCD89B8}"/>
    <dgm:cxn modelId="{9A376E89-DA2A-4058-82E0-DB0BE195BF79}" type="presOf" srcId="{CE691EDA-60AC-430A-B42E-A0962DCF736A}" destId="{570A2B11-CF70-4FA4-BCF9-84F77AA03EFF}" srcOrd="0" destOrd="0" presId="urn:microsoft.com/office/officeart/2005/8/layout/hierarchy2"/>
    <dgm:cxn modelId="{8534D099-584A-4542-ADE8-D9F546975089}" srcId="{412CA15F-F6F3-4D8D-B4D2-BEC33DC527F0}" destId="{D7B5ED8D-BFF1-4865-BF38-2BA7A7A7A83C}" srcOrd="0" destOrd="0" parTransId="{65C90F0F-A727-4396-A95E-EFF78D84E6EE}" sibTransId="{CC5E9AC2-666B-4A7B-BB81-DB6A978440D8}"/>
    <dgm:cxn modelId="{ACBA3E56-CB47-4AFC-B612-B815E7AD2760}" type="presOf" srcId="{789ED2B6-D40E-42E6-9326-654665870429}" destId="{EC192A35-7BE1-46C3-906B-F7B4E27C4270}" srcOrd="0" destOrd="0" presId="urn:microsoft.com/office/officeart/2005/8/layout/hierarchy2"/>
    <dgm:cxn modelId="{9BFCE48B-9514-44D0-A877-E83D0E0B6FF0}" srcId="{412CA15F-F6F3-4D8D-B4D2-BEC33DC527F0}" destId="{EE615069-4A12-485D-A295-8AC964F626F9}" srcOrd="2" destOrd="0" parTransId="{C6073E3B-0EA2-4671-BD94-39CDB1AC6941}" sibTransId="{ECE34470-2077-4E04-8489-778A3EA59064}"/>
    <dgm:cxn modelId="{A362845D-93D9-45A3-9C5A-D37D76DAA990}" type="presOf" srcId="{C6073E3B-0EA2-4671-BD94-39CDB1AC6941}" destId="{23619E19-073B-4CC4-8B2E-57B3A11165EF}" srcOrd="0" destOrd="0" presId="urn:microsoft.com/office/officeart/2005/8/layout/hierarchy2"/>
    <dgm:cxn modelId="{68F59039-264B-4C13-ADC7-6101A600DCC6}" srcId="{CE691EDA-60AC-430A-B42E-A0962DCF736A}" destId="{2B8BA691-705E-4B83-90DF-56DB5039C975}" srcOrd="2" destOrd="0" parTransId="{E31CB353-7857-4BB7-BFA6-412CD7EC62C2}" sibTransId="{F5DBFEFD-2344-4CAB-B5AD-9DFAA9AC92DD}"/>
    <dgm:cxn modelId="{C9D85C9D-4315-42B4-BFEA-83DA520CBC8B}" type="presOf" srcId="{2E0F7971-74B7-4476-B958-72FD12EC5FB0}" destId="{19A9F100-E43B-4D0B-BD25-A466EA7D7325}" srcOrd="0" destOrd="0" presId="urn:microsoft.com/office/officeart/2005/8/layout/hierarchy2"/>
    <dgm:cxn modelId="{DB3091D0-066A-441D-846A-CCAE3E90C0AA}" type="presOf" srcId="{EF2D3C5B-4D36-4724-B457-F99C70B1CF3A}" destId="{D6FE1050-838F-46EA-A5FB-EB03A81DE7B8}" srcOrd="0" destOrd="0" presId="urn:microsoft.com/office/officeart/2005/8/layout/hierarchy2"/>
    <dgm:cxn modelId="{72C5CE9C-3C10-40AF-983F-68973D25A906}" type="presOf" srcId="{55057CFC-22D6-46BB-819C-555EF2ADC765}" destId="{2EBFE7EB-A050-4C8B-BE66-322A4D5463F5}" srcOrd="0" destOrd="0" presId="urn:microsoft.com/office/officeart/2005/8/layout/hierarchy2"/>
    <dgm:cxn modelId="{AE6BDEFB-D874-4DF2-BA07-05250FCB412D}" type="presOf" srcId="{E31CB353-7857-4BB7-BFA6-412CD7EC62C2}" destId="{17348B4A-0262-4740-A40F-E74591B30D5A}" srcOrd="1" destOrd="0" presId="urn:microsoft.com/office/officeart/2005/8/layout/hierarchy2"/>
    <dgm:cxn modelId="{D676FF8E-5CBB-4870-AE1D-4F086E950A92}" srcId="{62328106-104D-4B5C-B620-0B6720FCD858}" destId="{2E0F7971-74B7-4476-B958-72FD12EC5FB0}" srcOrd="0" destOrd="0" parTransId="{55057CFC-22D6-46BB-819C-555EF2ADC765}" sibTransId="{A0A0A02A-49C6-461B-9953-F8921DA7EB10}"/>
    <dgm:cxn modelId="{EC06FD21-96FE-458B-83A2-6D94F4CF449F}" type="presOf" srcId="{65C90F0F-A727-4396-A95E-EFF78D84E6EE}" destId="{44A2E2CC-7CE5-4367-9E16-3FD83F951D8D}" srcOrd="1" destOrd="0" presId="urn:microsoft.com/office/officeart/2005/8/layout/hierarchy2"/>
    <dgm:cxn modelId="{71D73393-CEB7-4C16-99E2-A1A75ED4F004}" type="presOf" srcId="{2F5F4761-1595-45B8-93CF-3CF2E601DA18}" destId="{32028774-27E6-421D-A3B6-0BA87B3B2EB8}" srcOrd="0" destOrd="0" presId="urn:microsoft.com/office/officeart/2005/8/layout/hierarchy2"/>
    <dgm:cxn modelId="{8B00909D-F8AD-494D-BC5A-4289ABD4A7C9}" type="presOf" srcId="{65C90F0F-A727-4396-A95E-EFF78D84E6EE}" destId="{D504DCE0-053D-4A62-9474-879589CE591B}" srcOrd="0" destOrd="0" presId="urn:microsoft.com/office/officeart/2005/8/layout/hierarchy2"/>
    <dgm:cxn modelId="{25C27F18-BC1F-463F-8CF7-517A92CC2138}" type="presOf" srcId="{B1F211CA-70C6-43A7-A4A2-F51ED95B3C5E}" destId="{306B738F-0CEE-496E-90CD-A9906FD52936}" srcOrd="0" destOrd="0" presId="urn:microsoft.com/office/officeart/2005/8/layout/hierarchy2"/>
    <dgm:cxn modelId="{9AC341EA-6E97-4B7C-9662-2E25189467BD}" type="presOf" srcId="{123F791D-613C-4C27-B481-1F4438FF43AA}" destId="{70317032-9ADE-4E0D-8998-C54B6D1FB258}" srcOrd="0" destOrd="0" presId="urn:microsoft.com/office/officeart/2005/8/layout/hierarchy2"/>
    <dgm:cxn modelId="{9504BF41-A287-4C95-9F50-163598318D30}" srcId="{739E056A-E8F4-4AEA-9850-D4882E58F90C}" destId="{246A028F-99C4-471A-AEC1-4F04150D89BC}" srcOrd="0" destOrd="0" parTransId="{789ED2B6-D40E-42E6-9326-654665870429}" sibTransId="{5B4CAE5B-F488-4F3F-BAFE-F89684BE843A}"/>
    <dgm:cxn modelId="{68D200A7-A419-4986-A0F8-7F5837E8B5A5}" type="presOf" srcId="{57947503-9330-41B0-BAEB-0CA94B177EAE}" destId="{B28E8C67-64D3-46FA-BBD3-E8BAD5D2CC2D}" srcOrd="1" destOrd="0" presId="urn:microsoft.com/office/officeart/2005/8/layout/hierarchy2"/>
    <dgm:cxn modelId="{73F5F501-02E4-48AD-B731-5051C3EF3358}" type="presOf" srcId="{AE9EC862-59F8-4271-888D-13DCA4C901B3}" destId="{CD5BEAEE-348C-499A-8555-46A66F64F625}" srcOrd="0" destOrd="0" presId="urn:microsoft.com/office/officeart/2005/8/layout/hierarchy2"/>
    <dgm:cxn modelId="{A8E49FCC-AEE1-44A8-96B7-370E93E85DCB}" srcId="{CE691EDA-60AC-430A-B42E-A0962DCF736A}" destId="{B1F211CA-70C6-43A7-A4A2-F51ED95B3C5E}" srcOrd="0" destOrd="0" parTransId="{CF64C02D-BC85-4A2D-9705-14EEE32304BE}" sibTransId="{5EC8132E-C76D-4785-AD7C-86C2DC555363}"/>
    <dgm:cxn modelId="{88B582F8-33E2-45A7-93C3-AE09DA9DE669}" type="presOf" srcId="{2B8BA691-705E-4B83-90DF-56DB5039C975}" destId="{C07F7209-F00C-42C4-A64F-63684EEEEF1D}" srcOrd="0" destOrd="0" presId="urn:microsoft.com/office/officeart/2005/8/layout/hierarchy2"/>
    <dgm:cxn modelId="{910A95B3-0A2B-42CC-9013-ADDA3B461FF4}" type="presOf" srcId="{EF9FFA54-F16C-4C2F-8378-55FBAACF7240}" destId="{38946E34-192C-4AA1-A58D-2F8DF1D3EB27}" srcOrd="0" destOrd="0" presId="urn:microsoft.com/office/officeart/2005/8/layout/hierarchy2"/>
    <dgm:cxn modelId="{6C5A955B-226E-4EE8-963F-70CA9F0B8931}" srcId="{D7B5ED8D-BFF1-4865-BF38-2BA7A7A7A83C}" destId="{EB707103-C570-4D96-BC3E-20921A743B87}" srcOrd="1" destOrd="0" parTransId="{AE9EC862-59F8-4271-888D-13DCA4C901B3}" sibTransId="{61E27203-7C87-41F4-9EE7-4A4D87A99BE7}"/>
    <dgm:cxn modelId="{96D10AC3-9471-40E9-8EF6-66F5C959FD5C}" type="presOf" srcId="{789ED2B6-D40E-42E6-9326-654665870429}" destId="{A044E9A9-7E77-4861-B651-EE77704DDA7E}" srcOrd="1" destOrd="0" presId="urn:microsoft.com/office/officeart/2005/8/layout/hierarchy2"/>
    <dgm:cxn modelId="{E4E17106-140A-47CD-9199-9892C6253372}" srcId="{35BF041E-4879-4BB8-A415-FAE9E77B5885}" destId="{2F5F4761-1595-45B8-93CF-3CF2E601DA18}" srcOrd="0" destOrd="0" parTransId="{01D429E9-BB33-401E-BA8B-6723D18305BB}" sibTransId="{F3CC023D-7ADD-4F4A-A997-4C041FB4C065}"/>
    <dgm:cxn modelId="{4D1914D2-4DB2-40B7-B8BD-20ECD7DCBDF4}" type="presOf" srcId="{C6073E3B-0EA2-4671-BD94-39CDB1AC6941}" destId="{A4512643-94EF-445D-9A58-6DB60B02B2C5}" srcOrd="1" destOrd="0" presId="urn:microsoft.com/office/officeart/2005/8/layout/hierarchy2"/>
    <dgm:cxn modelId="{09FAA774-4765-4DD3-8CC1-0F70C63A52C5}" srcId="{123F791D-613C-4C27-B481-1F4438FF43AA}" destId="{CE691EDA-60AC-430A-B42E-A0962DCF736A}" srcOrd="0" destOrd="0" parTransId="{EE043DBC-BD73-4F29-9697-008791CB2248}" sibTransId="{82A71503-20B0-49DE-A876-B8FAA6A69D65}"/>
    <dgm:cxn modelId="{E9B6ED48-91C3-400D-B8AB-34733B70DBC9}" type="presOf" srcId="{246A028F-99C4-471A-AEC1-4F04150D89BC}" destId="{0ED6CC25-016F-45CF-AAEF-EFCA1195D195}" srcOrd="0" destOrd="0" presId="urn:microsoft.com/office/officeart/2005/8/layout/hierarchy2"/>
    <dgm:cxn modelId="{9714E9DC-8A97-4BF5-BFA0-A182FCAE314C}" type="presOf" srcId="{EB707103-C570-4D96-BC3E-20921A743B87}" destId="{EDB51EC2-6B3B-4C9D-A523-D8A14FD05640}" srcOrd="0" destOrd="0" presId="urn:microsoft.com/office/officeart/2005/8/layout/hierarchy2"/>
    <dgm:cxn modelId="{E76CE288-E1BF-4833-8CEA-7BC4DA574EBE}" type="presOf" srcId="{72D33357-9844-4D78-B8BE-E80A6AE9D309}" destId="{18864F57-019A-4D2B-8A84-41DAA175E5C5}" srcOrd="1" destOrd="0" presId="urn:microsoft.com/office/officeart/2005/8/layout/hierarchy2"/>
    <dgm:cxn modelId="{98B37F6E-E110-4231-8006-FF484C5E9AEE}" type="presOf" srcId="{CF64C02D-BC85-4A2D-9705-14EEE32304BE}" destId="{DF9A5C10-AC81-4011-86CB-97EA7FF9D2C4}" srcOrd="0" destOrd="0" presId="urn:microsoft.com/office/officeart/2005/8/layout/hierarchy2"/>
    <dgm:cxn modelId="{B028412E-F754-4168-9F98-403EAB42BE2A}" type="presOf" srcId="{01D429E9-BB33-401E-BA8B-6723D18305BB}" destId="{6B9D5136-5FC7-49DA-BC49-49E49B797073}" srcOrd="1" destOrd="0" presId="urn:microsoft.com/office/officeart/2005/8/layout/hierarchy2"/>
    <dgm:cxn modelId="{E9C5BA7C-2225-4B34-91BA-0C086340A538}" type="presOf" srcId="{6A7C0698-F713-4069-8D7B-FCA52466A329}" destId="{AF9BB6D2-845A-42D5-884E-2B6E3D050CCC}" srcOrd="1" destOrd="0" presId="urn:microsoft.com/office/officeart/2005/8/layout/hierarchy2"/>
    <dgm:cxn modelId="{95B028E3-E64A-4977-BF87-EEB3C4B2DCEF}" srcId="{412CA15F-F6F3-4D8D-B4D2-BEC33DC527F0}" destId="{35BF041E-4879-4BB8-A415-FAE9E77B5885}" srcOrd="1" destOrd="0" parTransId="{EF9FFA54-F16C-4C2F-8378-55FBAACF7240}" sibTransId="{8B84831C-F647-48FC-B6B5-196603C5E524}"/>
    <dgm:cxn modelId="{1C7928E4-B751-42C6-AD5E-7F00A14E20E2}" type="presOf" srcId="{6A7C0698-F713-4069-8D7B-FCA52466A329}" destId="{D202ACCD-F9EB-4104-ACAF-917CE9B427EA}" srcOrd="0" destOrd="0" presId="urn:microsoft.com/office/officeart/2005/8/layout/hierarchy2"/>
    <dgm:cxn modelId="{72E70DBF-9550-49EC-9A48-6EEF9677E895}" type="presOf" srcId="{E31CB353-7857-4BB7-BFA6-412CD7EC62C2}" destId="{F3DED03D-F0AF-4AAF-89C2-8073DD8FA99F}" srcOrd="0" destOrd="0" presId="urn:microsoft.com/office/officeart/2005/8/layout/hierarchy2"/>
    <dgm:cxn modelId="{4DC735CD-DB80-41AC-BCAC-333C82A4BAF4}" type="presOf" srcId="{2067EF92-EE60-4B11-A287-B9B6DEC48405}" destId="{DB02690A-437F-4970-9CB4-60D69E0E3262}" srcOrd="0" destOrd="0" presId="urn:microsoft.com/office/officeart/2005/8/layout/hierarchy2"/>
    <dgm:cxn modelId="{7C308538-D479-4D69-9556-D63E7BE5FB28}" srcId="{CE691EDA-60AC-430A-B42E-A0962DCF736A}" destId="{2067EF92-EE60-4B11-A287-B9B6DEC48405}" srcOrd="1" destOrd="0" parTransId="{EF2D3C5B-4D36-4724-B457-F99C70B1CF3A}" sibTransId="{35868BCE-5494-4B4C-992C-29E01D3DAE78}"/>
    <dgm:cxn modelId="{11A960C5-434D-465E-A000-B885E7672D7A}" type="presOf" srcId="{E90E1730-8FE0-4E84-8CB2-EB0C6FDF74BA}" destId="{63A3E43A-7B8A-42D2-87AC-718D6B7084BE}" srcOrd="0" destOrd="0" presId="urn:microsoft.com/office/officeart/2005/8/layout/hierarchy2"/>
    <dgm:cxn modelId="{A5444ED1-89C3-4CEB-A59F-053B78460316}" type="presOf" srcId="{D7B5ED8D-BFF1-4865-BF38-2BA7A7A7A83C}" destId="{0C79401B-6B37-47AF-9165-45D388D04662}" srcOrd="0" destOrd="0" presId="urn:microsoft.com/office/officeart/2005/8/layout/hierarchy2"/>
    <dgm:cxn modelId="{2C5920F1-53E7-4991-8EE4-58C25A777DCF}" type="presParOf" srcId="{70317032-9ADE-4E0D-8998-C54B6D1FB258}" destId="{2DAA43E2-64E1-452D-9813-6C932342AF6D}" srcOrd="0" destOrd="0" presId="urn:microsoft.com/office/officeart/2005/8/layout/hierarchy2"/>
    <dgm:cxn modelId="{49920B86-639B-45E6-9505-E1E148FC98C3}" type="presParOf" srcId="{2DAA43E2-64E1-452D-9813-6C932342AF6D}" destId="{570A2B11-CF70-4FA4-BCF9-84F77AA03EFF}" srcOrd="0" destOrd="0" presId="urn:microsoft.com/office/officeart/2005/8/layout/hierarchy2"/>
    <dgm:cxn modelId="{7A5A8B2A-C8DB-4C03-8E97-7087AA20714F}" type="presParOf" srcId="{2DAA43E2-64E1-452D-9813-6C932342AF6D}" destId="{0769AEC4-B07F-4639-8191-1FF583DC0A90}" srcOrd="1" destOrd="0" presId="urn:microsoft.com/office/officeart/2005/8/layout/hierarchy2"/>
    <dgm:cxn modelId="{C8912978-C457-4C76-A22A-FE09DBD353D9}" type="presParOf" srcId="{0769AEC4-B07F-4639-8191-1FF583DC0A90}" destId="{DF9A5C10-AC81-4011-86CB-97EA7FF9D2C4}" srcOrd="0" destOrd="0" presId="urn:microsoft.com/office/officeart/2005/8/layout/hierarchy2"/>
    <dgm:cxn modelId="{70040E6D-B6A7-4C0F-A0D1-2D55F4F10324}" type="presParOf" srcId="{DF9A5C10-AC81-4011-86CB-97EA7FF9D2C4}" destId="{3AFF83E4-BEA4-4FF6-884D-A90C9E1E5C0D}" srcOrd="0" destOrd="0" presId="urn:microsoft.com/office/officeart/2005/8/layout/hierarchy2"/>
    <dgm:cxn modelId="{273A1368-AC08-4458-910B-FD0A0122C643}" type="presParOf" srcId="{0769AEC4-B07F-4639-8191-1FF583DC0A90}" destId="{8B70779B-0F59-4233-A93F-0F82BCD8D0CB}" srcOrd="1" destOrd="0" presId="urn:microsoft.com/office/officeart/2005/8/layout/hierarchy2"/>
    <dgm:cxn modelId="{4CE585FA-3241-451D-BB02-C43110F5D1D5}" type="presParOf" srcId="{8B70779B-0F59-4233-A93F-0F82BCD8D0CB}" destId="{306B738F-0CEE-496E-90CD-A9906FD52936}" srcOrd="0" destOrd="0" presId="urn:microsoft.com/office/officeart/2005/8/layout/hierarchy2"/>
    <dgm:cxn modelId="{0135F14B-48E7-46DE-B083-CF22C229CE2B}" type="presParOf" srcId="{8B70779B-0F59-4233-A93F-0F82BCD8D0CB}" destId="{C3D5746B-84CB-4190-8DA0-E9E4DE64A7B9}" srcOrd="1" destOrd="0" presId="urn:microsoft.com/office/officeart/2005/8/layout/hierarchy2"/>
    <dgm:cxn modelId="{BE527E24-45A1-42DB-95A5-FE092E2F6E61}" type="presParOf" srcId="{C3D5746B-84CB-4190-8DA0-E9E4DE64A7B9}" destId="{D202ACCD-F9EB-4104-ACAF-917CE9B427EA}" srcOrd="0" destOrd="0" presId="urn:microsoft.com/office/officeart/2005/8/layout/hierarchy2"/>
    <dgm:cxn modelId="{106AB6C1-99D2-4490-9F0A-0563148CD968}" type="presParOf" srcId="{D202ACCD-F9EB-4104-ACAF-917CE9B427EA}" destId="{AF9BB6D2-845A-42D5-884E-2B6E3D050CCC}" srcOrd="0" destOrd="0" presId="urn:microsoft.com/office/officeart/2005/8/layout/hierarchy2"/>
    <dgm:cxn modelId="{8A7DD7CA-5B4A-4D10-8ABA-BFFDE2D1FC3E}" type="presParOf" srcId="{C3D5746B-84CB-4190-8DA0-E9E4DE64A7B9}" destId="{59B7FE25-2365-4075-BD9E-7F886D5BDB46}" srcOrd="1" destOrd="0" presId="urn:microsoft.com/office/officeart/2005/8/layout/hierarchy2"/>
    <dgm:cxn modelId="{B687182A-F00A-4FF0-90EE-3E6D29F12F4A}" type="presParOf" srcId="{59B7FE25-2365-4075-BD9E-7F886D5BDB46}" destId="{E64DAEAA-3D8E-460B-9370-2A9410E4F20A}" srcOrd="0" destOrd="0" presId="urn:microsoft.com/office/officeart/2005/8/layout/hierarchy2"/>
    <dgm:cxn modelId="{7AE945F8-70FD-4F58-BC79-56930A841D02}" type="presParOf" srcId="{59B7FE25-2365-4075-BD9E-7F886D5BDB46}" destId="{2C33191F-ED4E-458E-97E2-EE5BEF903EF8}" srcOrd="1" destOrd="0" presId="urn:microsoft.com/office/officeart/2005/8/layout/hierarchy2"/>
    <dgm:cxn modelId="{8746622D-DDF0-4376-AE35-0C90D35F08D4}" type="presParOf" srcId="{2C33191F-ED4E-458E-97E2-EE5BEF903EF8}" destId="{D504DCE0-053D-4A62-9474-879589CE591B}" srcOrd="0" destOrd="0" presId="urn:microsoft.com/office/officeart/2005/8/layout/hierarchy2"/>
    <dgm:cxn modelId="{F7D0FC72-0C0B-42DA-974E-F61B6CDC2EB5}" type="presParOf" srcId="{D504DCE0-053D-4A62-9474-879589CE591B}" destId="{44A2E2CC-7CE5-4367-9E16-3FD83F951D8D}" srcOrd="0" destOrd="0" presId="urn:microsoft.com/office/officeart/2005/8/layout/hierarchy2"/>
    <dgm:cxn modelId="{F27D19F3-33C4-4AA1-B2CF-AF6AB1B42E9C}" type="presParOf" srcId="{2C33191F-ED4E-458E-97E2-EE5BEF903EF8}" destId="{CF66B5AA-3FB0-4E0A-BC9F-DAFFA496890D}" srcOrd="1" destOrd="0" presId="urn:microsoft.com/office/officeart/2005/8/layout/hierarchy2"/>
    <dgm:cxn modelId="{3391BADD-13FC-4FA9-A0CD-F2775B202529}" type="presParOf" srcId="{CF66B5AA-3FB0-4E0A-BC9F-DAFFA496890D}" destId="{0C79401B-6B37-47AF-9165-45D388D04662}" srcOrd="0" destOrd="0" presId="urn:microsoft.com/office/officeart/2005/8/layout/hierarchy2"/>
    <dgm:cxn modelId="{5B9E685D-F6E4-4F86-BE64-FE61A5185FD4}" type="presParOf" srcId="{CF66B5AA-3FB0-4E0A-BC9F-DAFFA496890D}" destId="{A38F122E-94BC-4780-80B2-789F4CE8E61B}" srcOrd="1" destOrd="0" presId="urn:microsoft.com/office/officeart/2005/8/layout/hierarchy2"/>
    <dgm:cxn modelId="{08AAF51F-C440-4F83-B969-FFF6FA4AC50A}" type="presParOf" srcId="{A38F122E-94BC-4780-80B2-789F4CE8E61B}" destId="{DB12EE53-BC36-471C-B1A8-7E91E2872337}" srcOrd="0" destOrd="0" presId="urn:microsoft.com/office/officeart/2005/8/layout/hierarchy2"/>
    <dgm:cxn modelId="{2933C02D-C74B-45C3-927D-18E83E1FF61D}" type="presParOf" srcId="{DB12EE53-BC36-471C-B1A8-7E91E2872337}" destId="{A96A39BB-C8DE-47F6-80D6-85E93574B588}" srcOrd="0" destOrd="0" presId="urn:microsoft.com/office/officeart/2005/8/layout/hierarchy2"/>
    <dgm:cxn modelId="{86AEF0AC-DAB1-4875-83E4-13CA1C077076}" type="presParOf" srcId="{A38F122E-94BC-4780-80B2-789F4CE8E61B}" destId="{41CC8CA8-DA0A-420F-B69A-0937C71FF61F}" srcOrd="1" destOrd="0" presId="urn:microsoft.com/office/officeart/2005/8/layout/hierarchy2"/>
    <dgm:cxn modelId="{9344E782-A008-4242-B64C-228BD14E7C15}" type="presParOf" srcId="{41CC8CA8-DA0A-420F-B69A-0937C71FF61F}" destId="{B76DAD79-0E7C-46DD-B281-D775F7A2F1EA}" srcOrd="0" destOrd="0" presId="urn:microsoft.com/office/officeart/2005/8/layout/hierarchy2"/>
    <dgm:cxn modelId="{8665A5FB-6846-4E63-ADF4-BBDCAC19F29E}" type="presParOf" srcId="{41CC8CA8-DA0A-420F-B69A-0937C71FF61F}" destId="{6931CC39-26C1-4ECF-8BC4-0C8EA66919AA}" srcOrd="1" destOrd="0" presId="urn:microsoft.com/office/officeart/2005/8/layout/hierarchy2"/>
    <dgm:cxn modelId="{23C3A701-D372-4B26-BE0D-D9EF3B346C8A}" type="presParOf" srcId="{6931CC39-26C1-4ECF-8BC4-0C8EA66919AA}" destId="{EC192A35-7BE1-46C3-906B-F7B4E27C4270}" srcOrd="0" destOrd="0" presId="urn:microsoft.com/office/officeart/2005/8/layout/hierarchy2"/>
    <dgm:cxn modelId="{6EAC3C5F-BA28-4B76-A80E-4F00F2C800A1}" type="presParOf" srcId="{EC192A35-7BE1-46C3-906B-F7B4E27C4270}" destId="{A044E9A9-7E77-4861-B651-EE77704DDA7E}" srcOrd="0" destOrd="0" presId="urn:microsoft.com/office/officeart/2005/8/layout/hierarchy2"/>
    <dgm:cxn modelId="{6C38F29D-089F-44FC-B9EE-CFDA8A2F674A}" type="presParOf" srcId="{6931CC39-26C1-4ECF-8BC4-0C8EA66919AA}" destId="{77B95DD0-1E49-4AB8-85D1-F0F2F9A59431}" srcOrd="1" destOrd="0" presId="urn:microsoft.com/office/officeart/2005/8/layout/hierarchy2"/>
    <dgm:cxn modelId="{674337DE-45F7-46E4-967F-2BF53EDAD966}" type="presParOf" srcId="{77B95DD0-1E49-4AB8-85D1-F0F2F9A59431}" destId="{0ED6CC25-016F-45CF-AAEF-EFCA1195D195}" srcOrd="0" destOrd="0" presId="urn:microsoft.com/office/officeart/2005/8/layout/hierarchy2"/>
    <dgm:cxn modelId="{535FDF5E-75C1-4B35-932F-1B04BC0CEB24}" type="presParOf" srcId="{77B95DD0-1E49-4AB8-85D1-F0F2F9A59431}" destId="{DE00D507-BD68-4CE2-B18D-86F5B94FEA1F}" srcOrd="1" destOrd="0" presId="urn:microsoft.com/office/officeart/2005/8/layout/hierarchy2"/>
    <dgm:cxn modelId="{4670AC03-B236-485E-92E2-C2827D2257C1}" type="presParOf" srcId="{A38F122E-94BC-4780-80B2-789F4CE8E61B}" destId="{CD5BEAEE-348C-499A-8555-46A66F64F625}" srcOrd="2" destOrd="0" presId="urn:microsoft.com/office/officeart/2005/8/layout/hierarchy2"/>
    <dgm:cxn modelId="{AD15DE5C-508E-4328-A614-1BEB3352F05B}" type="presParOf" srcId="{CD5BEAEE-348C-499A-8555-46A66F64F625}" destId="{8BFACFA1-C712-4985-AB95-EB289B3695C8}" srcOrd="0" destOrd="0" presId="urn:microsoft.com/office/officeart/2005/8/layout/hierarchy2"/>
    <dgm:cxn modelId="{74A89AB8-97C3-4B36-9FA7-C1AC6AC3652D}" type="presParOf" srcId="{A38F122E-94BC-4780-80B2-789F4CE8E61B}" destId="{399572B3-18A4-4EFF-A4DE-22367DF6C8CF}" srcOrd="3" destOrd="0" presId="urn:microsoft.com/office/officeart/2005/8/layout/hierarchy2"/>
    <dgm:cxn modelId="{3B1EA42D-7905-45BE-9729-F0FAA30A00D1}" type="presParOf" srcId="{399572B3-18A4-4EFF-A4DE-22367DF6C8CF}" destId="{EDB51EC2-6B3B-4C9D-A523-D8A14FD05640}" srcOrd="0" destOrd="0" presId="urn:microsoft.com/office/officeart/2005/8/layout/hierarchy2"/>
    <dgm:cxn modelId="{EF466D83-EE13-4E10-93B5-568232140FB9}" type="presParOf" srcId="{399572B3-18A4-4EFF-A4DE-22367DF6C8CF}" destId="{0486CE6F-746D-436B-9872-A8BD33037F5B}" srcOrd="1" destOrd="0" presId="urn:microsoft.com/office/officeart/2005/8/layout/hierarchy2"/>
    <dgm:cxn modelId="{4CAC4FBC-CB1B-46DD-9ACB-646202DB6883}" type="presParOf" srcId="{2C33191F-ED4E-458E-97E2-EE5BEF903EF8}" destId="{38946E34-192C-4AA1-A58D-2F8DF1D3EB27}" srcOrd="2" destOrd="0" presId="urn:microsoft.com/office/officeart/2005/8/layout/hierarchy2"/>
    <dgm:cxn modelId="{BDBC32B8-92B2-49BF-AD53-5A399FAB0864}" type="presParOf" srcId="{38946E34-192C-4AA1-A58D-2F8DF1D3EB27}" destId="{CEBA1019-4AB2-458C-A578-DB989406E9DE}" srcOrd="0" destOrd="0" presId="urn:microsoft.com/office/officeart/2005/8/layout/hierarchy2"/>
    <dgm:cxn modelId="{438B5875-9001-4167-83B2-0F503CC152C2}" type="presParOf" srcId="{2C33191F-ED4E-458E-97E2-EE5BEF903EF8}" destId="{1ABE2ED7-DCB5-4D2D-A1BD-FE7E51B30D8B}" srcOrd="3" destOrd="0" presId="urn:microsoft.com/office/officeart/2005/8/layout/hierarchy2"/>
    <dgm:cxn modelId="{CEE5DD8D-78C4-4BE3-9B1C-47E0D7F6D530}" type="presParOf" srcId="{1ABE2ED7-DCB5-4D2D-A1BD-FE7E51B30D8B}" destId="{AB5AF07F-902B-4A27-BCF5-819C49EB72A3}" srcOrd="0" destOrd="0" presId="urn:microsoft.com/office/officeart/2005/8/layout/hierarchy2"/>
    <dgm:cxn modelId="{C5DF4717-FB15-4220-BEAB-8120D352E814}" type="presParOf" srcId="{1ABE2ED7-DCB5-4D2D-A1BD-FE7E51B30D8B}" destId="{0FBA97EE-4788-4F9F-99F4-275C244A112E}" srcOrd="1" destOrd="0" presId="urn:microsoft.com/office/officeart/2005/8/layout/hierarchy2"/>
    <dgm:cxn modelId="{B0327D01-C80F-41DC-B420-BB7E83CF663D}" type="presParOf" srcId="{0FBA97EE-4788-4F9F-99F4-275C244A112E}" destId="{F5A8CA64-6DFE-4344-8412-2CB9808FAFDC}" srcOrd="0" destOrd="0" presId="urn:microsoft.com/office/officeart/2005/8/layout/hierarchy2"/>
    <dgm:cxn modelId="{8E65A053-645F-4F80-8F4C-0B14B0A8B7CC}" type="presParOf" srcId="{F5A8CA64-6DFE-4344-8412-2CB9808FAFDC}" destId="{6B9D5136-5FC7-49DA-BC49-49E49B797073}" srcOrd="0" destOrd="0" presId="urn:microsoft.com/office/officeart/2005/8/layout/hierarchy2"/>
    <dgm:cxn modelId="{B84D484A-96CB-4C20-AFF1-DA113AE96694}" type="presParOf" srcId="{0FBA97EE-4788-4F9F-99F4-275C244A112E}" destId="{BB76E03E-BF27-4B75-93F7-5809507E2445}" srcOrd="1" destOrd="0" presId="urn:microsoft.com/office/officeart/2005/8/layout/hierarchy2"/>
    <dgm:cxn modelId="{56B81FAC-324F-4B15-B9BF-520D8AFCA597}" type="presParOf" srcId="{BB76E03E-BF27-4B75-93F7-5809507E2445}" destId="{32028774-27E6-421D-A3B6-0BA87B3B2EB8}" srcOrd="0" destOrd="0" presId="urn:microsoft.com/office/officeart/2005/8/layout/hierarchy2"/>
    <dgm:cxn modelId="{A565C0E3-5327-4460-8283-5E85DF771B58}" type="presParOf" srcId="{BB76E03E-BF27-4B75-93F7-5809507E2445}" destId="{0A9D9DB0-CACE-4916-AAF1-D13350FA9463}" srcOrd="1" destOrd="0" presId="urn:microsoft.com/office/officeart/2005/8/layout/hierarchy2"/>
    <dgm:cxn modelId="{86351081-74B4-4349-A094-A3CD853ECB5E}" type="presParOf" srcId="{2C33191F-ED4E-458E-97E2-EE5BEF903EF8}" destId="{23619E19-073B-4CC4-8B2E-57B3A11165EF}" srcOrd="4" destOrd="0" presId="urn:microsoft.com/office/officeart/2005/8/layout/hierarchy2"/>
    <dgm:cxn modelId="{BE788A61-C015-4BC1-9838-18B388CBA2EF}" type="presParOf" srcId="{23619E19-073B-4CC4-8B2E-57B3A11165EF}" destId="{A4512643-94EF-445D-9A58-6DB60B02B2C5}" srcOrd="0" destOrd="0" presId="urn:microsoft.com/office/officeart/2005/8/layout/hierarchy2"/>
    <dgm:cxn modelId="{5B180009-C7C3-4B96-9451-C383744B4E0E}" type="presParOf" srcId="{2C33191F-ED4E-458E-97E2-EE5BEF903EF8}" destId="{2EB9F67F-BAE6-41C2-B868-2CB46488FEC5}" srcOrd="5" destOrd="0" presId="urn:microsoft.com/office/officeart/2005/8/layout/hierarchy2"/>
    <dgm:cxn modelId="{4E099164-1FF1-48B5-8798-537835E80570}" type="presParOf" srcId="{2EB9F67F-BAE6-41C2-B868-2CB46488FEC5}" destId="{0FE8D9A9-802A-478B-BEEC-C0A50944153E}" srcOrd="0" destOrd="0" presId="urn:microsoft.com/office/officeart/2005/8/layout/hierarchy2"/>
    <dgm:cxn modelId="{FCA24EA5-72DF-4FBD-990C-14A9F09FC30E}" type="presParOf" srcId="{2EB9F67F-BAE6-41C2-B868-2CB46488FEC5}" destId="{CDD19C3C-9FEC-443F-A6AE-D73DE5E96D7D}" srcOrd="1" destOrd="0" presId="urn:microsoft.com/office/officeart/2005/8/layout/hierarchy2"/>
    <dgm:cxn modelId="{56210E55-4A0F-4A0D-8DD7-586633AE79A9}" type="presParOf" srcId="{C3D5746B-84CB-4190-8DA0-E9E4DE64A7B9}" destId="{9692AA10-AC4E-4C35-A9A9-990144B98993}" srcOrd="2" destOrd="0" presId="urn:microsoft.com/office/officeart/2005/8/layout/hierarchy2"/>
    <dgm:cxn modelId="{D3F1254A-3B95-42C3-B252-C7D4D96B348F}" type="presParOf" srcId="{9692AA10-AC4E-4C35-A9A9-990144B98993}" destId="{18864F57-019A-4D2B-8A84-41DAA175E5C5}" srcOrd="0" destOrd="0" presId="urn:microsoft.com/office/officeart/2005/8/layout/hierarchy2"/>
    <dgm:cxn modelId="{CE0036B8-F40C-4EC4-807E-83D68AE19801}" type="presParOf" srcId="{C3D5746B-84CB-4190-8DA0-E9E4DE64A7B9}" destId="{58C89B4B-6263-42D7-A543-37A6C9454474}" srcOrd="3" destOrd="0" presId="urn:microsoft.com/office/officeart/2005/8/layout/hierarchy2"/>
    <dgm:cxn modelId="{D94BE399-555E-40C6-967B-74AA85782E9A}" type="presParOf" srcId="{58C89B4B-6263-42D7-A543-37A6C9454474}" destId="{6DD6D406-E66E-46AB-B5AB-7DD8AE8FCA5C}" srcOrd="0" destOrd="0" presId="urn:microsoft.com/office/officeart/2005/8/layout/hierarchy2"/>
    <dgm:cxn modelId="{01110C41-073C-42C2-A7D3-56367686AF6E}" type="presParOf" srcId="{58C89B4B-6263-42D7-A543-37A6C9454474}" destId="{9F3287BB-3550-4227-8B31-85863401D877}" srcOrd="1" destOrd="0" presId="urn:microsoft.com/office/officeart/2005/8/layout/hierarchy2"/>
    <dgm:cxn modelId="{F33199DD-05F5-45AD-A5E5-385E67ED1E87}" type="presParOf" srcId="{9F3287BB-3550-4227-8B31-85863401D877}" destId="{2EBFE7EB-A050-4C8B-BE66-322A4D5463F5}" srcOrd="0" destOrd="0" presId="urn:microsoft.com/office/officeart/2005/8/layout/hierarchy2"/>
    <dgm:cxn modelId="{A9825BE5-1111-4388-AE88-468AA22E5DD1}" type="presParOf" srcId="{2EBFE7EB-A050-4C8B-BE66-322A4D5463F5}" destId="{53F373C2-2D22-4111-9EB1-75B7D437258A}" srcOrd="0" destOrd="0" presId="urn:microsoft.com/office/officeart/2005/8/layout/hierarchy2"/>
    <dgm:cxn modelId="{F292D5AD-5C44-4428-BDB4-7AD10A17952E}" type="presParOf" srcId="{9F3287BB-3550-4227-8B31-85863401D877}" destId="{5474BF69-1F02-422F-B27C-5EA11FE4B255}" srcOrd="1" destOrd="0" presId="urn:microsoft.com/office/officeart/2005/8/layout/hierarchy2"/>
    <dgm:cxn modelId="{024BF20A-B83A-41DE-9911-D534DCB32737}" type="presParOf" srcId="{5474BF69-1F02-422F-B27C-5EA11FE4B255}" destId="{19A9F100-E43B-4D0B-BD25-A466EA7D7325}" srcOrd="0" destOrd="0" presId="urn:microsoft.com/office/officeart/2005/8/layout/hierarchy2"/>
    <dgm:cxn modelId="{AEC03426-1753-4938-B0EC-A1DA84419D15}" type="presParOf" srcId="{5474BF69-1F02-422F-B27C-5EA11FE4B255}" destId="{E767810A-648C-4C44-AE7B-AB05AB2C74C0}" srcOrd="1" destOrd="0" presId="urn:microsoft.com/office/officeart/2005/8/layout/hierarchy2"/>
    <dgm:cxn modelId="{F69F495B-E8B7-45A7-8EF8-CA834D5DEE45}" type="presParOf" srcId="{C3D5746B-84CB-4190-8DA0-E9E4DE64A7B9}" destId="{61D97BD4-5E0B-4F18-86D3-6088900BFAA7}" srcOrd="4" destOrd="0" presId="urn:microsoft.com/office/officeart/2005/8/layout/hierarchy2"/>
    <dgm:cxn modelId="{0F0A74F0-CBBE-46A8-91B5-6938C02FD778}" type="presParOf" srcId="{61D97BD4-5E0B-4F18-86D3-6088900BFAA7}" destId="{5F18BF64-5A71-4E3B-B085-2DBD73BA0F52}" srcOrd="0" destOrd="0" presId="urn:microsoft.com/office/officeart/2005/8/layout/hierarchy2"/>
    <dgm:cxn modelId="{41F384F9-1757-4821-A7F7-E67122C743E2}" type="presParOf" srcId="{C3D5746B-84CB-4190-8DA0-E9E4DE64A7B9}" destId="{7C4EF99A-3A33-46B3-A99B-4B88F6264463}" srcOrd="5" destOrd="0" presId="urn:microsoft.com/office/officeart/2005/8/layout/hierarchy2"/>
    <dgm:cxn modelId="{02B2FB50-8471-46FC-95E7-55588B392D33}" type="presParOf" srcId="{7C4EF99A-3A33-46B3-A99B-4B88F6264463}" destId="{2462460C-7B64-439E-8693-820D88DBA603}" srcOrd="0" destOrd="0" presId="urn:microsoft.com/office/officeart/2005/8/layout/hierarchy2"/>
    <dgm:cxn modelId="{2730FB05-16FF-47EB-92FE-A8E516DDD417}" type="presParOf" srcId="{7C4EF99A-3A33-46B3-A99B-4B88F6264463}" destId="{0C081A5D-7CDF-4CE5-8101-AB3EAA79D393}" srcOrd="1" destOrd="0" presId="urn:microsoft.com/office/officeart/2005/8/layout/hierarchy2"/>
    <dgm:cxn modelId="{932AB130-1532-4758-86A2-061C2E24AF4A}" type="presParOf" srcId="{0769AEC4-B07F-4639-8191-1FF583DC0A90}" destId="{D6FE1050-838F-46EA-A5FB-EB03A81DE7B8}" srcOrd="2" destOrd="0" presId="urn:microsoft.com/office/officeart/2005/8/layout/hierarchy2"/>
    <dgm:cxn modelId="{E7CD298E-32EA-40FE-86C0-1D157F7FA3A3}" type="presParOf" srcId="{D6FE1050-838F-46EA-A5FB-EB03A81DE7B8}" destId="{0C084573-3561-4318-85D1-7A5DC13259A9}" srcOrd="0" destOrd="0" presId="urn:microsoft.com/office/officeart/2005/8/layout/hierarchy2"/>
    <dgm:cxn modelId="{FAA6E45B-435B-4750-8747-A108560048B8}" type="presParOf" srcId="{0769AEC4-B07F-4639-8191-1FF583DC0A90}" destId="{780E13E2-B6BA-461E-8DD1-C88F3DB5071E}" srcOrd="3" destOrd="0" presId="urn:microsoft.com/office/officeart/2005/8/layout/hierarchy2"/>
    <dgm:cxn modelId="{6BF590E7-255A-4609-B94F-31CCDF635C54}" type="presParOf" srcId="{780E13E2-B6BA-461E-8DD1-C88F3DB5071E}" destId="{DB02690A-437F-4970-9CB4-60D69E0E3262}" srcOrd="0" destOrd="0" presId="urn:microsoft.com/office/officeart/2005/8/layout/hierarchy2"/>
    <dgm:cxn modelId="{3D4F794D-C806-4596-A32E-11541FD3EAA8}" type="presParOf" srcId="{780E13E2-B6BA-461E-8DD1-C88F3DB5071E}" destId="{660BFB12-C105-41BD-A83D-C3EA77DD232F}" srcOrd="1" destOrd="0" presId="urn:microsoft.com/office/officeart/2005/8/layout/hierarchy2"/>
    <dgm:cxn modelId="{3D717981-2791-4752-B6B1-015A707C8504}" type="presParOf" srcId="{660BFB12-C105-41BD-A83D-C3EA77DD232F}" destId="{29601B14-DFDD-4DD4-BC34-AC7B5688271D}" srcOrd="0" destOrd="0" presId="urn:microsoft.com/office/officeart/2005/8/layout/hierarchy2"/>
    <dgm:cxn modelId="{ABD846DD-D847-4EE1-B266-A7AD446AFB40}" type="presParOf" srcId="{29601B14-DFDD-4DD4-BC34-AC7B5688271D}" destId="{B28E8C67-64D3-46FA-BBD3-E8BAD5D2CC2D}" srcOrd="0" destOrd="0" presId="urn:microsoft.com/office/officeart/2005/8/layout/hierarchy2"/>
    <dgm:cxn modelId="{3E98EF45-D68D-4099-9FC8-D5F4C90CDC2F}" type="presParOf" srcId="{660BFB12-C105-41BD-A83D-C3EA77DD232F}" destId="{5D000A7D-05D5-4602-B0DC-DCACD8A783BD}" srcOrd="1" destOrd="0" presId="urn:microsoft.com/office/officeart/2005/8/layout/hierarchy2"/>
    <dgm:cxn modelId="{494FD8FB-F4EF-4286-A5FF-BF8BFDF53C05}" type="presParOf" srcId="{5D000A7D-05D5-4602-B0DC-DCACD8A783BD}" destId="{63A3E43A-7B8A-42D2-87AC-718D6B7084BE}" srcOrd="0" destOrd="0" presId="urn:microsoft.com/office/officeart/2005/8/layout/hierarchy2"/>
    <dgm:cxn modelId="{F7C98E1F-7394-4EB0-83B3-AAACF0B4CB71}" type="presParOf" srcId="{5D000A7D-05D5-4602-B0DC-DCACD8A783BD}" destId="{F20485A7-D5C0-4273-9CAF-D2D7D34431F7}" srcOrd="1" destOrd="0" presId="urn:microsoft.com/office/officeart/2005/8/layout/hierarchy2"/>
    <dgm:cxn modelId="{04964087-0687-4A11-ABEF-ACBF5E763681}" type="presParOf" srcId="{0769AEC4-B07F-4639-8191-1FF583DC0A90}" destId="{F3DED03D-F0AF-4AAF-89C2-8073DD8FA99F}" srcOrd="4" destOrd="0" presId="urn:microsoft.com/office/officeart/2005/8/layout/hierarchy2"/>
    <dgm:cxn modelId="{243DCEC5-9F75-4DCA-95A2-F33B1FB84080}" type="presParOf" srcId="{F3DED03D-F0AF-4AAF-89C2-8073DD8FA99F}" destId="{17348B4A-0262-4740-A40F-E74591B30D5A}" srcOrd="0" destOrd="0" presId="urn:microsoft.com/office/officeart/2005/8/layout/hierarchy2"/>
    <dgm:cxn modelId="{87242F5D-61D0-4D2C-A203-037A8BBEC11E}" type="presParOf" srcId="{0769AEC4-B07F-4639-8191-1FF583DC0A90}" destId="{B1B64B60-F575-4C8D-927D-7376C1BED0B4}" srcOrd="5" destOrd="0" presId="urn:microsoft.com/office/officeart/2005/8/layout/hierarchy2"/>
    <dgm:cxn modelId="{62A8B078-85C0-4736-8D19-330B8811AF0D}" type="presParOf" srcId="{B1B64B60-F575-4C8D-927D-7376C1BED0B4}" destId="{C07F7209-F00C-42C4-A64F-63684EEEEF1D}" srcOrd="0" destOrd="0" presId="urn:microsoft.com/office/officeart/2005/8/layout/hierarchy2"/>
    <dgm:cxn modelId="{BF79B8A1-9357-45F7-A019-94B53EBF1E4F}" type="presParOf" srcId="{B1B64B60-F575-4C8D-927D-7376C1BED0B4}" destId="{3385177E-1170-419C-8DE4-03873B60694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0A2B11-CF70-4FA4-BCF9-84F77AA03EFF}">
      <dsp:nvSpPr>
        <dsp:cNvPr id="0" name=""/>
        <dsp:cNvSpPr/>
      </dsp:nvSpPr>
      <dsp:spPr>
        <a:xfrm>
          <a:off x="6998" y="2371711"/>
          <a:ext cx="902142" cy="248427"/>
        </a:xfrm>
        <a:prstGeom prst="roundRect">
          <a:avLst>
            <a:gd name="adj" fmla="val 10000"/>
          </a:avLst>
        </a:prstGeom>
        <a:solidFill>
          <a:srgbClr val="EAA42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>
              <a:solidFill>
                <a:schemeClr val="bg1"/>
              </a:solidFill>
            </a:rPr>
            <a:t>Brazil</a:t>
          </a:r>
          <a:endParaRPr lang="zh-CN" altLang="en-US" sz="1200" kern="1200" dirty="0">
            <a:solidFill>
              <a:schemeClr val="bg1"/>
            </a:solidFill>
          </a:endParaRPr>
        </a:p>
      </dsp:txBody>
      <dsp:txXfrm>
        <a:off x="14274" y="2378987"/>
        <a:ext cx="887590" cy="233875"/>
      </dsp:txXfrm>
    </dsp:sp>
    <dsp:sp modelId="{DF9A5C10-AC81-4011-86CB-97EA7FF9D2C4}">
      <dsp:nvSpPr>
        <dsp:cNvPr id="0" name=""/>
        <dsp:cNvSpPr/>
      </dsp:nvSpPr>
      <dsp:spPr>
        <a:xfrm rot="18136770">
          <a:off x="751720" y="2199972"/>
          <a:ext cx="675699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675699" y="1031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1072677" y="2193396"/>
        <a:ext cx="33784" cy="33784"/>
      </dsp:txXfrm>
    </dsp:sp>
    <dsp:sp modelId="{306B738F-0CEE-496E-90CD-A9906FD52936}">
      <dsp:nvSpPr>
        <dsp:cNvPr id="0" name=""/>
        <dsp:cNvSpPr/>
      </dsp:nvSpPr>
      <dsp:spPr>
        <a:xfrm>
          <a:off x="1269998" y="1800439"/>
          <a:ext cx="902142" cy="248427"/>
        </a:xfrm>
        <a:prstGeom prst="roundRect">
          <a:avLst>
            <a:gd name="adj" fmla="val 10000"/>
          </a:avLst>
        </a:prstGeom>
        <a:solidFill>
          <a:srgbClr val="C0C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>
              <a:solidFill>
                <a:schemeClr val="tx1"/>
              </a:solidFill>
            </a:rPr>
            <a:t>Italy</a:t>
          </a:r>
          <a:endParaRPr lang="zh-CN" altLang="en-US" sz="1200" kern="1200" dirty="0">
            <a:solidFill>
              <a:schemeClr val="tx1"/>
            </a:solidFill>
          </a:endParaRPr>
        </a:p>
      </dsp:txBody>
      <dsp:txXfrm>
        <a:off x="1277274" y="1807715"/>
        <a:ext cx="887590" cy="233875"/>
      </dsp:txXfrm>
    </dsp:sp>
    <dsp:sp modelId="{D202ACCD-F9EB-4104-ACAF-917CE9B427EA}">
      <dsp:nvSpPr>
        <dsp:cNvPr id="0" name=""/>
        <dsp:cNvSpPr/>
      </dsp:nvSpPr>
      <dsp:spPr>
        <a:xfrm rot="18315743">
          <a:off x="2040043" y="1659152"/>
          <a:ext cx="625053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625053" y="10317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336943" y="1653843"/>
        <a:ext cx="31252" cy="31252"/>
      </dsp:txXfrm>
    </dsp:sp>
    <dsp:sp modelId="{E64DAEAA-3D8E-460B-9370-2A9410E4F20A}">
      <dsp:nvSpPr>
        <dsp:cNvPr id="0" name=""/>
        <dsp:cNvSpPr/>
      </dsp:nvSpPr>
      <dsp:spPr>
        <a:xfrm>
          <a:off x="2532998" y="1290072"/>
          <a:ext cx="902142" cy="248427"/>
        </a:xfrm>
        <a:prstGeom prst="roundRect">
          <a:avLst>
            <a:gd name="adj" fmla="val 10000"/>
          </a:avLst>
        </a:prstGeom>
        <a:solidFill>
          <a:srgbClr val="B873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Germany</a:t>
          </a:r>
          <a:endParaRPr lang="zh-CN" altLang="en-US" sz="1200" kern="1200" dirty="0"/>
        </a:p>
      </dsp:txBody>
      <dsp:txXfrm>
        <a:off x="2540274" y="1297348"/>
        <a:ext cx="887590" cy="233875"/>
      </dsp:txXfrm>
    </dsp:sp>
    <dsp:sp modelId="{D504DCE0-053D-4A62-9474-879589CE591B}">
      <dsp:nvSpPr>
        <dsp:cNvPr id="0" name=""/>
        <dsp:cNvSpPr/>
      </dsp:nvSpPr>
      <dsp:spPr>
        <a:xfrm rot="18772990">
          <a:off x="3350431" y="1209690"/>
          <a:ext cx="53027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530277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602313" y="1206750"/>
        <a:ext cx="26513" cy="26513"/>
      </dsp:txXfrm>
    </dsp:sp>
    <dsp:sp modelId="{0C79401B-6B37-47AF-9165-45D388D04662}">
      <dsp:nvSpPr>
        <dsp:cNvPr id="0" name=""/>
        <dsp:cNvSpPr/>
      </dsp:nvSpPr>
      <dsp:spPr>
        <a:xfrm>
          <a:off x="3795998" y="901515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89804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Uruguay</a:t>
          </a:r>
          <a:endParaRPr lang="zh-CN" altLang="en-US" sz="1200" kern="1200" dirty="0"/>
        </a:p>
      </dsp:txBody>
      <dsp:txXfrm>
        <a:off x="3803274" y="908791"/>
        <a:ext cx="887590" cy="233875"/>
      </dsp:txXfrm>
    </dsp:sp>
    <dsp:sp modelId="{DB12EE53-BC36-471C-B1A8-7E91E2872337}">
      <dsp:nvSpPr>
        <dsp:cNvPr id="0" name=""/>
        <dsp:cNvSpPr/>
      </dsp:nvSpPr>
      <dsp:spPr>
        <a:xfrm rot="20180885">
          <a:off x="4681595" y="936389"/>
          <a:ext cx="393949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93949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4868721" y="936858"/>
        <a:ext cx="19697" cy="19697"/>
      </dsp:txXfrm>
    </dsp:sp>
    <dsp:sp modelId="{B76DAD79-0E7C-46DD-B281-D775F7A2F1EA}">
      <dsp:nvSpPr>
        <dsp:cNvPr id="0" name=""/>
        <dsp:cNvSpPr/>
      </dsp:nvSpPr>
      <dsp:spPr>
        <a:xfrm>
          <a:off x="5058998" y="743471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8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Russia</a:t>
          </a:r>
          <a:endParaRPr lang="zh-CN" altLang="en-US" sz="1200" kern="1200" dirty="0"/>
        </a:p>
      </dsp:txBody>
      <dsp:txXfrm>
        <a:off x="5066274" y="750747"/>
        <a:ext cx="887590" cy="233875"/>
      </dsp:txXfrm>
    </dsp:sp>
    <dsp:sp modelId="{EC192A35-7BE1-46C3-906B-F7B4E27C4270}">
      <dsp:nvSpPr>
        <dsp:cNvPr id="0" name=""/>
        <dsp:cNvSpPr/>
      </dsp:nvSpPr>
      <dsp:spPr>
        <a:xfrm>
          <a:off x="5961141" y="857367"/>
          <a:ext cx="36085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60857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6132548" y="858663"/>
        <a:ext cx="18042" cy="18042"/>
      </dsp:txXfrm>
    </dsp:sp>
    <dsp:sp modelId="{0ED6CC25-016F-45CF-AAEF-EFCA1195D195}">
      <dsp:nvSpPr>
        <dsp:cNvPr id="0" name=""/>
        <dsp:cNvSpPr/>
      </dsp:nvSpPr>
      <dsp:spPr>
        <a:xfrm>
          <a:off x="6321998" y="743471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El Salvador</a:t>
          </a:r>
          <a:endParaRPr lang="zh-CN" altLang="en-US" sz="1200" kern="1200" dirty="0"/>
        </a:p>
      </dsp:txBody>
      <dsp:txXfrm>
        <a:off x="6329274" y="750747"/>
        <a:ext cx="887590" cy="233875"/>
      </dsp:txXfrm>
    </dsp:sp>
    <dsp:sp modelId="{CD5BEAEE-348C-499A-8555-46A66F64F625}">
      <dsp:nvSpPr>
        <dsp:cNvPr id="0" name=""/>
        <dsp:cNvSpPr/>
      </dsp:nvSpPr>
      <dsp:spPr>
        <a:xfrm rot="1419115">
          <a:off x="4681595" y="1094434"/>
          <a:ext cx="393949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93949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4868721" y="1094902"/>
        <a:ext cx="19697" cy="19697"/>
      </dsp:txXfrm>
    </dsp:sp>
    <dsp:sp modelId="{EDB51EC2-6B3B-4C9D-A523-D8A14FD05640}">
      <dsp:nvSpPr>
        <dsp:cNvPr id="0" name=""/>
        <dsp:cNvSpPr/>
      </dsp:nvSpPr>
      <dsp:spPr>
        <a:xfrm>
          <a:off x="5058998" y="1059559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Israel</a:t>
          </a:r>
          <a:endParaRPr lang="zh-CN" altLang="en-US" sz="1200" kern="1200" dirty="0"/>
        </a:p>
      </dsp:txBody>
      <dsp:txXfrm>
        <a:off x="5066274" y="1066835"/>
        <a:ext cx="887590" cy="233875"/>
      </dsp:txXfrm>
    </dsp:sp>
    <dsp:sp modelId="{38946E34-192C-4AA1-A58D-2F8DF1D3EB27}">
      <dsp:nvSpPr>
        <dsp:cNvPr id="0" name=""/>
        <dsp:cNvSpPr/>
      </dsp:nvSpPr>
      <dsp:spPr>
        <a:xfrm rot="681323">
          <a:off x="3431538" y="1440203"/>
          <a:ext cx="368062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68062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606368" y="1441319"/>
        <a:ext cx="18403" cy="18403"/>
      </dsp:txXfrm>
    </dsp:sp>
    <dsp:sp modelId="{AB5AF07F-902B-4A27-BCF5-819C49EB72A3}">
      <dsp:nvSpPr>
        <dsp:cNvPr id="0" name=""/>
        <dsp:cNvSpPr/>
      </dsp:nvSpPr>
      <dsp:spPr>
        <a:xfrm>
          <a:off x="3795998" y="1362541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England</a:t>
          </a:r>
          <a:endParaRPr lang="zh-CN" altLang="en-US" sz="1200" kern="1200" dirty="0"/>
        </a:p>
      </dsp:txBody>
      <dsp:txXfrm>
        <a:off x="3803274" y="1369817"/>
        <a:ext cx="887590" cy="233875"/>
      </dsp:txXfrm>
    </dsp:sp>
    <dsp:sp modelId="{F5A8CA64-6DFE-4344-8412-2CB9808FAFDC}">
      <dsp:nvSpPr>
        <dsp:cNvPr id="0" name=""/>
        <dsp:cNvSpPr/>
      </dsp:nvSpPr>
      <dsp:spPr>
        <a:xfrm>
          <a:off x="4698141" y="1476438"/>
          <a:ext cx="36085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60857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4869548" y="1477734"/>
        <a:ext cx="18042" cy="18042"/>
      </dsp:txXfrm>
    </dsp:sp>
    <dsp:sp modelId="{32028774-27E6-421D-A3B6-0BA87B3B2EB8}">
      <dsp:nvSpPr>
        <dsp:cNvPr id="0" name=""/>
        <dsp:cNvSpPr/>
      </dsp:nvSpPr>
      <dsp:spPr>
        <a:xfrm>
          <a:off x="5058998" y="1375647"/>
          <a:ext cx="1203954" cy="222215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Czechoslovakia</a:t>
          </a:r>
          <a:endParaRPr lang="zh-CN" altLang="en-US" sz="1200" kern="1200" dirty="0"/>
        </a:p>
      </dsp:txBody>
      <dsp:txXfrm>
        <a:off x="5065506" y="1382155"/>
        <a:ext cx="1190938" cy="209199"/>
      </dsp:txXfrm>
    </dsp:sp>
    <dsp:sp modelId="{23619E19-073B-4CC4-8B2E-57B3A11165EF}">
      <dsp:nvSpPr>
        <dsp:cNvPr id="0" name=""/>
        <dsp:cNvSpPr/>
      </dsp:nvSpPr>
      <dsp:spPr>
        <a:xfrm rot="2827010">
          <a:off x="3350431" y="1598248"/>
          <a:ext cx="53027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530277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602313" y="1595308"/>
        <a:ext cx="26513" cy="26513"/>
      </dsp:txXfrm>
    </dsp:sp>
    <dsp:sp modelId="{0FE8D9A9-802A-478B-BEEC-C0A50944153E}">
      <dsp:nvSpPr>
        <dsp:cNvPr id="0" name=""/>
        <dsp:cNvSpPr/>
      </dsp:nvSpPr>
      <dsp:spPr>
        <a:xfrm>
          <a:off x="3795998" y="1678630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Bulgaria</a:t>
          </a:r>
          <a:endParaRPr lang="zh-CN" altLang="en-US" sz="1200" kern="1200" dirty="0"/>
        </a:p>
      </dsp:txBody>
      <dsp:txXfrm>
        <a:off x="3803274" y="1685906"/>
        <a:ext cx="887590" cy="233875"/>
      </dsp:txXfrm>
    </dsp:sp>
    <dsp:sp modelId="{9692AA10-AC4E-4C35-A9A9-990144B98993}">
      <dsp:nvSpPr>
        <dsp:cNvPr id="0" name=""/>
        <dsp:cNvSpPr/>
      </dsp:nvSpPr>
      <dsp:spPr>
        <a:xfrm rot="1697831">
          <a:off x="2147654" y="2011475"/>
          <a:ext cx="409831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409831" y="10317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342324" y="2011547"/>
        <a:ext cx="20491" cy="20491"/>
      </dsp:txXfrm>
    </dsp:sp>
    <dsp:sp modelId="{6DD6D406-E66E-46AB-B5AB-7DD8AE8FCA5C}">
      <dsp:nvSpPr>
        <dsp:cNvPr id="0" name=""/>
        <dsp:cNvSpPr/>
      </dsp:nvSpPr>
      <dsp:spPr>
        <a:xfrm>
          <a:off x="2532998" y="1994718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69804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Mexico</a:t>
          </a:r>
          <a:endParaRPr lang="zh-CN" altLang="en-US" sz="1200" kern="1200" dirty="0"/>
        </a:p>
      </dsp:txBody>
      <dsp:txXfrm>
        <a:off x="2540274" y="2001994"/>
        <a:ext cx="887590" cy="233875"/>
      </dsp:txXfrm>
    </dsp:sp>
    <dsp:sp modelId="{2EBFE7EB-A050-4C8B-BE66-322A4D5463F5}">
      <dsp:nvSpPr>
        <dsp:cNvPr id="0" name=""/>
        <dsp:cNvSpPr/>
      </dsp:nvSpPr>
      <dsp:spPr>
        <a:xfrm>
          <a:off x="3435141" y="2108615"/>
          <a:ext cx="36085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60857" y="10317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606548" y="2109910"/>
        <a:ext cx="18042" cy="18042"/>
      </dsp:txXfrm>
    </dsp:sp>
    <dsp:sp modelId="{19A9F100-E43B-4D0B-BD25-A466EA7D7325}">
      <dsp:nvSpPr>
        <dsp:cNvPr id="0" name=""/>
        <dsp:cNvSpPr/>
      </dsp:nvSpPr>
      <dsp:spPr>
        <a:xfrm>
          <a:off x="3795998" y="1994718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Belgium</a:t>
          </a:r>
          <a:endParaRPr lang="zh-CN" altLang="en-US" sz="1200" kern="1200" dirty="0"/>
        </a:p>
      </dsp:txBody>
      <dsp:txXfrm>
        <a:off x="3803274" y="2001994"/>
        <a:ext cx="887590" cy="233875"/>
      </dsp:txXfrm>
    </dsp:sp>
    <dsp:sp modelId="{61D97BD4-5E0B-4F18-86D3-6088900BFAA7}">
      <dsp:nvSpPr>
        <dsp:cNvPr id="0" name=""/>
        <dsp:cNvSpPr/>
      </dsp:nvSpPr>
      <dsp:spPr>
        <a:xfrm rot="3284257">
          <a:off x="2040043" y="2169519"/>
          <a:ext cx="625053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625053" y="10317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336943" y="2164210"/>
        <a:ext cx="31252" cy="31252"/>
      </dsp:txXfrm>
    </dsp:sp>
    <dsp:sp modelId="{2462460C-7B64-439E-8693-820D88DBA603}">
      <dsp:nvSpPr>
        <dsp:cNvPr id="0" name=""/>
        <dsp:cNvSpPr/>
      </dsp:nvSpPr>
      <dsp:spPr>
        <a:xfrm>
          <a:off x="2532998" y="2310806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Sweden</a:t>
          </a:r>
          <a:endParaRPr lang="zh-CN" altLang="en-US" sz="1200" kern="1200" dirty="0"/>
        </a:p>
      </dsp:txBody>
      <dsp:txXfrm>
        <a:off x="2540274" y="2318082"/>
        <a:ext cx="887590" cy="233875"/>
      </dsp:txXfrm>
    </dsp:sp>
    <dsp:sp modelId="{D6FE1050-838F-46EA-A5FB-EB03A81DE7B8}">
      <dsp:nvSpPr>
        <dsp:cNvPr id="0" name=""/>
        <dsp:cNvSpPr/>
      </dsp:nvSpPr>
      <dsp:spPr>
        <a:xfrm rot="2115984">
          <a:off x="868585" y="2613199"/>
          <a:ext cx="441968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441968" y="1031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1078520" y="2612467"/>
        <a:ext cx="22098" cy="22098"/>
      </dsp:txXfrm>
    </dsp:sp>
    <dsp:sp modelId="{DB02690A-437F-4970-9CB4-60D69E0E3262}">
      <dsp:nvSpPr>
        <dsp:cNvPr id="0" name=""/>
        <dsp:cNvSpPr/>
      </dsp:nvSpPr>
      <dsp:spPr>
        <a:xfrm>
          <a:off x="1269998" y="2626894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6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Peru</a:t>
          </a:r>
          <a:endParaRPr lang="zh-CN" altLang="en-US" sz="1200" kern="1200" dirty="0"/>
        </a:p>
      </dsp:txBody>
      <dsp:txXfrm>
        <a:off x="1277274" y="2634170"/>
        <a:ext cx="887590" cy="233875"/>
      </dsp:txXfrm>
    </dsp:sp>
    <dsp:sp modelId="{29601B14-DFDD-4DD4-BC34-AC7B5688271D}">
      <dsp:nvSpPr>
        <dsp:cNvPr id="0" name=""/>
        <dsp:cNvSpPr/>
      </dsp:nvSpPr>
      <dsp:spPr>
        <a:xfrm>
          <a:off x="2172141" y="2740791"/>
          <a:ext cx="360857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360857" y="10317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343548" y="2742087"/>
        <a:ext cx="18042" cy="18042"/>
      </dsp:txXfrm>
    </dsp:sp>
    <dsp:sp modelId="{63A3E43A-7B8A-42D2-87AC-718D6B7084BE}">
      <dsp:nvSpPr>
        <dsp:cNvPr id="0" name=""/>
        <dsp:cNvSpPr/>
      </dsp:nvSpPr>
      <dsp:spPr>
        <a:xfrm>
          <a:off x="2532998" y="2626894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Morocco</a:t>
          </a:r>
          <a:endParaRPr lang="zh-CN" altLang="en-US" sz="1200" kern="1200" dirty="0"/>
        </a:p>
      </dsp:txBody>
      <dsp:txXfrm>
        <a:off x="2540274" y="2634170"/>
        <a:ext cx="887590" cy="233875"/>
      </dsp:txXfrm>
    </dsp:sp>
    <dsp:sp modelId="{F3DED03D-F0AF-4AAF-89C2-8073DD8FA99F}">
      <dsp:nvSpPr>
        <dsp:cNvPr id="0" name=""/>
        <dsp:cNvSpPr/>
      </dsp:nvSpPr>
      <dsp:spPr>
        <a:xfrm rot="3463230">
          <a:off x="751720" y="2771244"/>
          <a:ext cx="675699" cy="20634"/>
        </a:xfrm>
        <a:custGeom>
          <a:avLst/>
          <a:gdLst/>
          <a:ahLst/>
          <a:cxnLst/>
          <a:rect l="0" t="0" r="0" b="0"/>
          <a:pathLst>
            <a:path>
              <a:moveTo>
                <a:pt x="0" y="10317"/>
              </a:moveTo>
              <a:lnTo>
                <a:pt x="675699" y="1031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1072677" y="2764668"/>
        <a:ext cx="33784" cy="33784"/>
      </dsp:txXfrm>
    </dsp:sp>
    <dsp:sp modelId="{C07F7209-F00C-42C4-A64F-63684EEEEF1D}">
      <dsp:nvSpPr>
        <dsp:cNvPr id="0" name=""/>
        <dsp:cNvSpPr/>
      </dsp:nvSpPr>
      <dsp:spPr>
        <a:xfrm>
          <a:off x="1269998" y="2942983"/>
          <a:ext cx="902142" cy="248427"/>
        </a:xfrm>
        <a:prstGeom prst="roundRect">
          <a:avLst>
            <a:gd name="adj" fmla="val 10000"/>
          </a:avLst>
        </a:prstGeom>
        <a:solidFill>
          <a:srgbClr val="A70F2B">
            <a:alpha val="4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/>
            <a:t>Romania</a:t>
          </a:r>
          <a:endParaRPr lang="zh-CN" altLang="en-US" sz="1200" kern="1200" dirty="0"/>
        </a:p>
      </dsp:txBody>
      <dsp:txXfrm>
        <a:off x="1277274" y="2950259"/>
        <a:ext cx="887590" cy="2338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EFFDDB8D-E455-4663-B50C-CF846627E296}" type="datetimeFigureOut">
              <a:rPr lang="de-DE" smtClean="0"/>
              <a:t>31.07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6637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A1FFBF6A-FD98-47E4-AE02-8AFDCD356934}" type="datetimeFigureOut">
              <a:rPr lang="en-GB" smtClean="0"/>
              <a:t>31/07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279525"/>
            <a:ext cx="46037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5CC0819C-26B5-4746-9DC9-85CD35521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5943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83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98659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28693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275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5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175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538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440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015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12026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677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0819C-26B5-4746-9DC9-85CD355212B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699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763520"/>
            <a:ext cx="6858000" cy="1554480"/>
          </a:xfrm>
        </p:spPr>
        <p:txBody>
          <a:bodyPr/>
          <a:lstStyle>
            <a:lvl1pPr>
              <a:defRPr sz="3750" spc="-75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419600"/>
            <a:ext cx="6858000" cy="118872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92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792"/>
            <a:ext cx="8229601" cy="7620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07352"/>
            <a:ext cx="8229601" cy="274320"/>
          </a:xfrm>
          <a:ln>
            <a:noFill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100" b="1">
                <a:solidFill>
                  <a:srgbClr val="A70F2B"/>
                </a:solidFill>
              </a:defRPr>
            </a:lvl1pPr>
            <a:lvl2pPr marL="0" indent="0">
              <a:spcBef>
                <a:spcPts val="0"/>
              </a:spcBef>
              <a:buNone/>
              <a:defRPr sz="1350"/>
            </a:lvl2pPr>
            <a:lvl3pPr marL="0" indent="0">
              <a:spcBef>
                <a:spcPts val="0"/>
              </a:spcBef>
              <a:buNone/>
              <a:defRPr sz="1350"/>
            </a:lvl3pPr>
            <a:lvl4pPr marL="0" indent="0">
              <a:spcBef>
                <a:spcPts val="0"/>
              </a:spcBef>
              <a:buNone/>
              <a:defRPr sz="1350"/>
            </a:lvl4pPr>
            <a:lvl5pPr marL="0" indent="0">
              <a:spcBef>
                <a:spcPts val="0"/>
              </a:spcBef>
              <a:buNone/>
              <a:defRPr sz="1350"/>
            </a:lvl5pPr>
            <a:lvl6pPr marL="0" indent="0">
              <a:spcBef>
                <a:spcPts val="0"/>
              </a:spcBef>
              <a:buNone/>
              <a:defRPr sz="1350"/>
            </a:lvl6pPr>
            <a:lvl7pPr marL="0" indent="0">
              <a:spcBef>
                <a:spcPts val="0"/>
              </a:spcBef>
              <a:buNone/>
              <a:defRPr sz="1350"/>
            </a:lvl7pPr>
            <a:lvl8pPr marL="0" indent="0">
              <a:spcBef>
                <a:spcPts val="0"/>
              </a:spcBef>
              <a:buNone/>
              <a:defRPr sz="1350"/>
            </a:lvl8pPr>
            <a:lvl9pPr marL="0" indent="0">
              <a:spcBef>
                <a:spcPts val="0"/>
              </a:spcBef>
              <a:buNone/>
              <a:defRPr sz="135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1"/>
            <a:ext cx="8229601" cy="44196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58570F-8EBC-41F5-B1F7-134E83EBEFA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997825" y="6436519"/>
            <a:ext cx="0" cy="20716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3252" y="6356349"/>
            <a:ext cx="11220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lect Club</a:t>
            </a:r>
          </a:p>
        </p:txBody>
      </p:sp>
      <p:sp>
        <p:nvSpPr>
          <p:cNvPr id="10" name="Rechteck 34"/>
          <p:cNvSpPr/>
          <p:nvPr userDrawn="1"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</a:t>
            </a:r>
            <a:endParaRPr lang="en-GB" sz="1000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30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676399"/>
            <a:ext cx="3986784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57401"/>
            <a:ext cx="3986784" cy="40386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676399"/>
            <a:ext cx="3986784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2057401"/>
            <a:ext cx="3986784" cy="40386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51792"/>
            <a:ext cx="8229601" cy="7620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07352"/>
            <a:ext cx="8229601" cy="274320"/>
          </a:xfrm>
          <a:ln>
            <a:noFill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100" b="1">
                <a:solidFill>
                  <a:srgbClr val="A70F2B"/>
                </a:solidFill>
              </a:defRPr>
            </a:lvl1pPr>
            <a:lvl2pPr marL="0" indent="0">
              <a:spcBef>
                <a:spcPts val="0"/>
              </a:spcBef>
              <a:buNone/>
              <a:defRPr sz="1350"/>
            </a:lvl2pPr>
            <a:lvl3pPr marL="0" indent="0">
              <a:spcBef>
                <a:spcPts val="0"/>
              </a:spcBef>
              <a:buNone/>
              <a:defRPr sz="1350"/>
            </a:lvl3pPr>
            <a:lvl4pPr marL="0" indent="0">
              <a:spcBef>
                <a:spcPts val="0"/>
              </a:spcBef>
              <a:buNone/>
              <a:defRPr sz="1350"/>
            </a:lvl4pPr>
            <a:lvl5pPr marL="0" indent="0">
              <a:spcBef>
                <a:spcPts val="0"/>
              </a:spcBef>
              <a:buNone/>
              <a:defRPr sz="1350"/>
            </a:lvl5pPr>
            <a:lvl6pPr marL="0" indent="0">
              <a:spcBef>
                <a:spcPts val="0"/>
              </a:spcBef>
              <a:buNone/>
              <a:defRPr sz="1350"/>
            </a:lvl6pPr>
            <a:lvl7pPr marL="0" indent="0">
              <a:spcBef>
                <a:spcPts val="0"/>
              </a:spcBef>
              <a:buNone/>
              <a:defRPr sz="1350"/>
            </a:lvl7pPr>
            <a:lvl8pPr marL="0" indent="0">
              <a:spcBef>
                <a:spcPts val="0"/>
              </a:spcBef>
              <a:buNone/>
              <a:defRPr sz="1350"/>
            </a:lvl8pPr>
            <a:lvl9pPr marL="0" indent="0">
              <a:spcBef>
                <a:spcPts val="0"/>
              </a:spcBef>
              <a:buNone/>
              <a:defRPr sz="135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031956" y="6356350"/>
            <a:ext cx="4833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58570F-8EBC-41F5-B1F7-134E83EBEFA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7997825" y="6436519"/>
            <a:ext cx="0" cy="20716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843252" y="6356349"/>
            <a:ext cx="11220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lect Club</a:t>
            </a:r>
          </a:p>
        </p:txBody>
      </p:sp>
      <p:sp>
        <p:nvSpPr>
          <p:cNvPr id="14" name="Rechteck 34"/>
          <p:cNvSpPr/>
          <p:nvPr userDrawn="1"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</a:t>
            </a:r>
            <a:endParaRPr lang="en-GB" sz="1000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72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676399"/>
            <a:ext cx="256032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3291841" y="1676399"/>
            <a:ext cx="256032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126481" y="1676399"/>
            <a:ext cx="256032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2057400"/>
            <a:ext cx="2560320" cy="40386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1" y="2057400"/>
            <a:ext cx="2560320" cy="40386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2057400"/>
            <a:ext cx="2560320" cy="40386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Date Placeholder 3"/>
          <p:cNvSpPr txBox="1">
            <a:spLocks/>
          </p:cNvSpPr>
          <p:nvPr userDrawn="1"/>
        </p:nvSpPr>
        <p:spPr>
          <a:xfrm>
            <a:off x="3994298" y="6434074"/>
            <a:ext cx="609600" cy="21945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dirty="0">
              <a:solidFill>
                <a:srgbClr val="E3DED1">
                  <a:lumMod val="75000"/>
                </a:srgbClr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51792"/>
            <a:ext cx="8229601" cy="7620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1107352"/>
            <a:ext cx="8229601" cy="274320"/>
          </a:xfrm>
          <a:ln>
            <a:noFill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100" b="1">
                <a:solidFill>
                  <a:srgbClr val="A70F2B"/>
                </a:solidFill>
              </a:defRPr>
            </a:lvl1pPr>
            <a:lvl2pPr marL="0" indent="0">
              <a:spcBef>
                <a:spcPts val="0"/>
              </a:spcBef>
              <a:buNone/>
              <a:defRPr sz="1350"/>
            </a:lvl2pPr>
            <a:lvl3pPr marL="0" indent="0">
              <a:spcBef>
                <a:spcPts val="0"/>
              </a:spcBef>
              <a:buNone/>
              <a:defRPr sz="1350"/>
            </a:lvl3pPr>
            <a:lvl4pPr marL="0" indent="0">
              <a:spcBef>
                <a:spcPts val="0"/>
              </a:spcBef>
              <a:buNone/>
              <a:defRPr sz="1350"/>
            </a:lvl4pPr>
            <a:lvl5pPr marL="0" indent="0">
              <a:spcBef>
                <a:spcPts val="0"/>
              </a:spcBef>
              <a:buNone/>
              <a:defRPr sz="1350"/>
            </a:lvl5pPr>
            <a:lvl6pPr marL="0" indent="0">
              <a:spcBef>
                <a:spcPts val="0"/>
              </a:spcBef>
              <a:buNone/>
              <a:defRPr sz="1350"/>
            </a:lvl6pPr>
            <a:lvl7pPr marL="0" indent="0">
              <a:spcBef>
                <a:spcPts val="0"/>
              </a:spcBef>
              <a:buNone/>
              <a:defRPr sz="1350"/>
            </a:lvl7pPr>
            <a:lvl8pPr marL="0" indent="0">
              <a:spcBef>
                <a:spcPts val="0"/>
              </a:spcBef>
              <a:buNone/>
              <a:defRPr sz="1350"/>
            </a:lvl8pPr>
            <a:lvl9pPr marL="0" indent="0">
              <a:spcBef>
                <a:spcPts val="0"/>
              </a:spcBef>
              <a:buNone/>
              <a:defRPr sz="135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58570F-8EBC-41F5-B1F7-134E83EBEFA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r Verbinder 23"/>
          <p:cNvCxnSpPr/>
          <p:nvPr userDrawn="1"/>
        </p:nvCxnSpPr>
        <p:spPr>
          <a:xfrm>
            <a:off x="7997825" y="6436519"/>
            <a:ext cx="0" cy="20716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3252" y="6356349"/>
            <a:ext cx="11220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lect Club</a:t>
            </a:r>
          </a:p>
        </p:txBody>
      </p:sp>
      <p:sp>
        <p:nvSpPr>
          <p:cNvPr id="18" name="Rechteck 34"/>
          <p:cNvSpPr/>
          <p:nvPr userDrawn="1"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</a:t>
            </a:r>
            <a:endParaRPr lang="en-GB" sz="1000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816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1"/>
            <a:ext cx="82296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33067" y="1470620"/>
            <a:ext cx="8280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8"/>
          <p:cNvCxnSpPr/>
          <p:nvPr userDrawn="1"/>
        </p:nvCxnSpPr>
        <p:spPr>
          <a:xfrm>
            <a:off x="433067" y="6221530"/>
            <a:ext cx="8280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3252" y="6356349"/>
            <a:ext cx="11220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lect Club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58570F-8EBC-41F5-B1F7-134E83EBEFA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7997825" y="6436519"/>
            <a:ext cx="0" cy="20716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âPeking University logoâçå¾çæç´¢ç»æ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56349"/>
            <a:ext cx="1107001" cy="352424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5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80" r:id="rId3"/>
    <p:sldLayoutId id="2147483683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HP Simplified" panose="020B0604020204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HP Simplified" panose="020B0604020204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mp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tmp"/><Relationship Id="rId3" Type="http://schemas.openxmlformats.org/officeDocument/2006/relationships/image" Target="../media/image19.png"/><Relationship Id="rId7" Type="http://schemas.openxmlformats.org/officeDocument/2006/relationships/image" Target="../media/image23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tm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m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dingdi\桌面\图片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48655"/>
            <a:ext cx="9144000" cy="310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矩形 4"/>
          <p:cNvSpPr/>
          <p:nvPr/>
        </p:nvSpPr>
        <p:spPr>
          <a:xfrm>
            <a:off x="0" y="2700444"/>
            <a:ext cx="9144000" cy="896838"/>
          </a:xfrm>
          <a:prstGeom prst="rect">
            <a:avLst/>
          </a:prstGeom>
          <a:solidFill>
            <a:srgbClr val="A70F2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zh-CN" altLang="en-US" dirty="0" err="1">
              <a:latin typeface="+mj-lt"/>
            </a:endParaRPr>
          </a:p>
        </p:txBody>
      </p:sp>
      <p:sp>
        <p:nvSpPr>
          <p:cNvPr id="35" name="矩形 5"/>
          <p:cNvSpPr/>
          <p:nvPr/>
        </p:nvSpPr>
        <p:spPr>
          <a:xfrm>
            <a:off x="0" y="3665095"/>
            <a:ext cx="9144000" cy="83560"/>
          </a:xfrm>
          <a:prstGeom prst="rect">
            <a:avLst/>
          </a:prstGeom>
          <a:solidFill>
            <a:srgbClr val="A70F2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zh-CN" altLang="en-US" dirty="0" err="1"/>
          </a:p>
        </p:txBody>
      </p:sp>
      <p:grpSp>
        <p:nvGrpSpPr>
          <p:cNvPr id="63" name="Group 62"/>
          <p:cNvGrpSpPr/>
          <p:nvPr/>
        </p:nvGrpSpPr>
        <p:grpSpPr>
          <a:xfrm>
            <a:off x="5726242" y="350736"/>
            <a:ext cx="3336241" cy="1777868"/>
            <a:chOff x="6297613" y="358775"/>
            <a:chExt cx="3744912" cy="2160588"/>
          </a:xfrm>
        </p:grpSpPr>
        <p:sp>
          <p:nvSpPr>
            <p:cNvPr id="36" name="矩形 6"/>
            <p:cNvSpPr/>
            <p:nvPr/>
          </p:nvSpPr>
          <p:spPr>
            <a:xfrm>
              <a:off x="7807325" y="1803400"/>
              <a:ext cx="347663" cy="347663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7" name="矩形 7"/>
            <p:cNvSpPr/>
            <p:nvPr/>
          </p:nvSpPr>
          <p:spPr>
            <a:xfrm>
              <a:off x="8561388" y="1438275"/>
              <a:ext cx="349250" cy="349250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8" name="矩形 8"/>
            <p:cNvSpPr/>
            <p:nvPr/>
          </p:nvSpPr>
          <p:spPr>
            <a:xfrm>
              <a:off x="8183563" y="1068388"/>
              <a:ext cx="349250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9" name="矩形 9"/>
            <p:cNvSpPr/>
            <p:nvPr/>
          </p:nvSpPr>
          <p:spPr>
            <a:xfrm>
              <a:off x="7051675" y="1438275"/>
              <a:ext cx="349250" cy="349250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0" name="矩形 10"/>
            <p:cNvSpPr/>
            <p:nvPr/>
          </p:nvSpPr>
          <p:spPr>
            <a:xfrm>
              <a:off x="8561388" y="1068388"/>
              <a:ext cx="349250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1" name="矩形 11"/>
            <p:cNvSpPr/>
            <p:nvPr/>
          </p:nvSpPr>
          <p:spPr>
            <a:xfrm>
              <a:off x="8939213" y="709613"/>
              <a:ext cx="347662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2" name="矩形 12"/>
            <p:cNvSpPr/>
            <p:nvPr/>
          </p:nvSpPr>
          <p:spPr>
            <a:xfrm>
              <a:off x="8939213" y="358775"/>
              <a:ext cx="347662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3" name="矩形 13"/>
            <p:cNvSpPr/>
            <p:nvPr/>
          </p:nvSpPr>
          <p:spPr>
            <a:xfrm>
              <a:off x="9315450" y="1068388"/>
              <a:ext cx="349250" cy="347662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4" name="矩形 14"/>
            <p:cNvSpPr/>
            <p:nvPr/>
          </p:nvSpPr>
          <p:spPr>
            <a:xfrm>
              <a:off x="8939213" y="1438275"/>
              <a:ext cx="347662" cy="349250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5" name="矩形 15"/>
            <p:cNvSpPr/>
            <p:nvPr/>
          </p:nvSpPr>
          <p:spPr>
            <a:xfrm>
              <a:off x="8561388" y="1803400"/>
              <a:ext cx="349250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6" name="矩形 16"/>
            <p:cNvSpPr/>
            <p:nvPr/>
          </p:nvSpPr>
          <p:spPr>
            <a:xfrm>
              <a:off x="9315450" y="1803400"/>
              <a:ext cx="349250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7" name="矩形 17"/>
            <p:cNvSpPr/>
            <p:nvPr/>
          </p:nvSpPr>
          <p:spPr>
            <a:xfrm>
              <a:off x="7807325" y="1068388"/>
              <a:ext cx="347663" cy="347662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8" name="矩形 18"/>
            <p:cNvSpPr/>
            <p:nvPr/>
          </p:nvSpPr>
          <p:spPr>
            <a:xfrm>
              <a:off x="8183563" y="1438275"/>
              <a:ext cx="349250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9" name="矩形 19"/>
            <p:cNvSpPr/>
            <p:nvPr/>
          </p:nvSpPr>
          <p:spPr>
            <a:xfrm>
              <a:off x="8183563" y="2170113"/>
              <a:ext cx="349250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0" name="矩形 20"/>
            <p:cNvSpPr/>
            <p:nvPr/>
          </p:nvSpPr>
          <p:spPr>
            <a:xfrm>
              <a:off x="7807325" y="1438275"/>
              <a:ext cx="347663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1" name="矩形 21"/>
            <p:cNvSpPr/>
            <p:nvPr/>
          </p:nvSpPr>
          <p:spPr>
            <a:xfrm>
              <a:off x="8183563" y="709613"/>
              <a:ext cx="349250" cy="347662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2" name="矩形 22"/>
            <p:cNvSpPr/>
            <p:nvPr/>
          </p:nvSpPr>
          <p:spPr>
            <a:xfrm>
              <a:off x="7051675" y="1068388"/>
              <a:ext cx="349250" cy="347662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3" name="矩形 23"/>
            <p:cNvSpPr/>
            <p:nvPr/>
          </p:nvSpPr>
          <p:spPr>
            <a:xfrm>
              <a:off x="6675438" y="1438275"/>
              <a:ext cx="347662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4" name="矩形 24"/>
            <p:cNvSpPr/>
            <p:nvPr/>
          </p:nvSpPr>
          <p:spPr>
            <a:xfrm>
              <a:off x="9315450" y="358775"/>
              <a:ext cx="349250" cy="347663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5" name="矩形 25"/>
            <p:cNvSpPr/>
            <p:nvPr/>
          </p:nvSpPr>
          <p:spPr>
            <a:xfrm>
              <a:off x="9693275" y="358775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6" name="矩形 26"/>
            <p:cNvSpPr/>
            <p:nvPr/>
          </p:nvSpPr>
          <p:spPr>
            <a:xfrm>
              <a:off x="9693275" y="1068388"/>
              <a:ext cx="349250" cy="347662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7" name="矩形 27"/>
            <p:cNvSpPr/>
            <p:nvPr/>
          </p:nvSpPr>
          <p:spPr>
            <a:xfrm>
              <a:off x="8939213" y="1068388"/>
              <a:ext cx="347662" cy="347662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8" name="矩形 28"/>
            <p:cNvSpPr/>
            <p:nvPr/>
          </p:nvSpPr>
          <p:spPr>
            <a:xfrm>
              <a:off x="8183563" y="1803400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9" name="矩形 29"/>
            <p:cNvSpPr/>
            <p:nvPr/>
          </p:nvSpPr>
          <p:spPr>
            <a:xfrm>
              <a:off x="7429500" y="1438275"/>
              <a:ext cx="349250" cy="349250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60" name="矩形 30"/>
            <p:cNvSpPr/>
            <p:nvPr/>
          </p:nvSpPr>
          <p:spPr>
            <a:xfrm>
              <a:off x="6297613" y="1803400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</p:grpSp>
      <p:sp>
        <p:nvSpPr>
          <p:cNvPr id="61" name="customnam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2700444"/>
            <a:ext cx="9144000" cy="89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6" tIns="45698" rIns="91396" bIns="45698" anchor="ctr"/>
          <a:lstStyle>
            <a:lvl1pPr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1pPr>
            <a:lvl2pPr marL="742950" indent="-28575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2pPr>
            <a:lvl3pPr marL="11430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3pPr>
            <a:lvl4pPr marL="16002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4pPr>
            <a:lvl5pPr marL="20574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5pPr>
            <a:lvl6pPr marL="25146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6pPr>
            <a:lvl7pPr marL="29718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7pPr>
            <a:lvl8pPr marL="34290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8pPr>
            <a:lvl9pPr marL="38862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9pPr>
          </a:lstStyle>
          <a:p>
            <a:pPr algn="ctr" eaLnBrk="1" hangingPunct="1"/>
            <a:r>
              <a:rPr lang="en-US" altLang="zh-CN" sz="2400" b="1" dirty="0">
                <a:solidFill>
                  <a:srgbClr val="FFFFFF"/>
                </a:solidFill>
                <a:latin typeface="+mj-lt"/>
                <a:ea typeface="+mj-ea"/>
                <a:cs typeface="Calibri" panose="020F0502020204030204" pitchFamily="34" charset="0"/>
              </a:rPr>
              <a:t>World Cup Prediction Using Machine Learning and Python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54A4CA1-F2A1-41E9-8817-6FC4284350B4}"/>
              </a:ext>
            </a:extLst>
          </p:cNvPr>
          <p:cNvSpPr txBox="1"/>
          <p:nvPr/>
        </p:nvSpPr>
        <p:spPr>
          <a:xfrm>
            <a:off x="400048" y="4037162"/>
            <a:ext cx="8315324" cy="1818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b="1" dirty="0"/>
              <a:t>Team Member: Cao </a:t>
            </a:r>
            <a:r>
              <a:rPr lang="en-US" altLang="zh-CN" b="1" dirty="0" err="1"/>
              <a:t>Qinyu</a:t>
            </a:r>
            <a:r>
              <a:rPr lang="en-US" altLang="zh-CN" b="1" dirty="0"/>
              <a:t>, Cui </a:t>
            </a:r>
            <a:r>
              <a:rPr lang="en-US" altLang="zh-CN" b="1" dirty="0" err="1"/>
              <a:t>Xiaomei</a:t>
            </a:r>
            <a:r>
              <a:rPr lang="en-US" altLang="zh-CN" b="1" dirty="0"/>
              <a:t>, Gong Chen, Li Chen,</a:t>
            </a:r>
          </a:p>
          <a:p>
            <a:pPr algn="ctr">
              <a:lnSpc>
                <a:spcPct val="90000"/>
              </a:lnSpc>
            </a:pPr>
            <a:r>
              <a:rPr lang="en-US" altLang="zh-CN" b="1" dirty="0"/>
              <a:t>Ning Yu, Wang </a:t>
            </a:r>
            <a:r>
              <a:rPr lang="en-US" altLang="zh-CN" b="1" dirty="0" err="1"/>
              <a:t>Ruikun</a:t>
            </a:r>
            <a:r>
              <a:rPr lang="en-US" altLang="zh-CN" b="1" dirty="0"/>
              <a:t>, Sun </a:t>
            </a:r>
            <a:r>
              <a:rPr lang="en-US" altLang="zh-CN" b="1" dirty="0" err="1"/>
              <a:t>Dianyong</a:t>
            </a:r>
            <a:r>
              <a:rPr lang="en-US" altLang="zh-CN" b="1" dirty="0"/>
              <a:t>, Tong Pai</a:t>
            </a:r>
          </a:p>
          <a:p>
            <a:pPr algn="ctr">
              <a:lnSpc>
                <a:spcPct val="90000"/>
              </a:lnSpc>
            </a:pPr>
            <a:endParaRPr lang="en-US" altLang="zh-CN" b="1" dirty="0"/>
          </a:p>
          <a:p>
            <a:pPr algn="ctr">
              <a:lnSpc>
                <a:spcPct val="90000"/>
              </a:lnSpc>
            </a:pPr>
            <a:r>
              <a:rPr lang="en-US" altLang="zh-CN" b="1" dirty="0"/>
              <a:t>Group Project for PKU Python Programming Summer School</a:t>
            </a:r>
          </a:p>
          <a:p>
            <a:pPr algn="ctr">
              <a:lnSpc>
                <a:spcPct val="90000"/>
              </a:lnSpc>
            </a:pPr>
            <a:endParaRPr lang="en-US" altLang="zh-CN" b="1" dirty="0"/>
          </a:p>
          <a:p>
            <a:pPr algn="ctr">
              <a:lnSpc>
                <a:spcPct val="90000"/>
              </a:lnSpc>
            </a:pPr>
            <a:endParaRPr lang="en-US" altLang="zh-CN" b="1" dirty="0"/>
          </a:p>
          <a:p>
            <a:pPr algn="ctr">
              <a:lnSpc>
                <a:spcPct val="90000"/>
              </a:lnSpc>
            </a:pPr>
            <a:endParaRPr lang="en-US" altLang="zh-CN" b="1" dirty="0"/>
          </a:p>
          <a:p>
            <a:pPr algn="ctr">
              <a:lnSpc>
                <a:spcPct val="90000"/>
              </a:lnSpc>
            </a:pPr>
            <a:r>
              <a:rPr lang="en-US" altLang="zh-CN" b="1" dirty="0"/>
              <a:t>Instructor: He </a:t>
            </a:r>
            <a:r>
              <a:rPr lang="en-US" altLang="zh-CN" b="1" dirty="0" err="1"/>
              <a:t>Jibo</a:t>
            </a:r>
            <a:endParaRPr lang="en-US" altLang="zh-CN" b="1" dirty="0"/>
          </a:p>
          <a:p>
            <a:pPr algn="ctr">
              <a:lnSpc>
                <a:spcPct val="90000"/>
              </a:lnSpc>
            </a:pPr>
            <a:endParaRPr lang="en-US" altLang="zh-CN" b="1" dirty="0"/>
          </a:p>
          <a:p>
            <a:pPr algn="ctr">
              <a:lnSpc>
                <a:spcPct val="90000"/>
              </a:lnSpc>
            </a:pPr>
            <a:endParaRPr lang="zh-CN" altLang="en-US" b="1" dirty="0" err="1"/>
          </a:p>
        </p:txBody>
      </p:sp>
    </p:spTree>
    <p:extLst>
      <p:ext uri="{BB962C8B-B14F-4D97-AF65-F5344CB8AC3E}">
        <p14:creationId xmlns:p14="http://schemas.microsoft.com/office/powerpoint/2010/main" val="3788222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ata Colle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llected Data from Various Dimens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Dataset Description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BB5329E3-E4CB-409D-84FE-A5A4CAE69C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844189"/>
              </p:ext>
            </p:extLst>
          </p:nvPr>
        </p:nvGraphicFramePr>
        <p:xfrm>
          <a:off x="456592" y="2220162"/>
          <a:ext cx="8215132" cy="1569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107566">
                  <a:extLst>
                    <a:ext uri="{9D8B030D-6E8A-4147-A177-3AD203B41FA5}">
                      <a16:colId xmlns:a16="http://schemas.microsoft.com/office/drawing/2014/main" val="3423993403"/>
                    </a:ext>
                  </a:extLst>
                </a:gridCol>
                <a:gridCol w="4107566">
                  <a:extLst>
                    <a:ext uri="{9D8B030D-6E8A-4147-A177-3AD203B41FA5}">
                      <a16:colId xmlns:a16="http://schemas.microsoft.com/office/drawing/2014/main" val="41291185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Data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Explanation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57869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/>
                        <a:t>Major</a:t>
                      </a:r>
                      <a:r>
                        <a:rPr lang="en-US" altLang="zh-CN" sz="1200" baseline="0"/>
                        <a:t> football tournament data from 1930 to 2018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/>
                        <a:t>Including</a:t>
                      </a:r>
                      <a:r>
                        <a:rPr lang="en-US" altLang="zh-CN" sz="1200" baseline="0"/>
                        <a:t> World Cup, World Cup qualification, regional championship et al.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866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/>
                        <a:t>World</a:t>
                      </a:r>
                      <a:r>
                        <a:rPr lang="en-US" altLang="zh-CN" sz="1200" baseline="0"/>
                        <a:t> Cup ranking data from 1930 to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/>
                        <a:t>Including</a:t>
                      </a:r>
                      <a:r>
                        <a:rPr lang="en-US" altLang="zh-CN" sz="1200" baseline="0" dirty="0" smtClean="0"/>
                        <a:t> each team’s rank in the history of World Cup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72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Political, Economic, climate data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Auxiliary data.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2012562"/>
                  </a:ext>
                </a:extLst>
              </a:tr>
            </a:tbl>
          </a:graphicData>
        </a:graphic>
      </p:graphicFrame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5A774D5-9656-4854-B5B6-C79223956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3" name="Rechteck 34">
            <a:extLst>
              <a:ext uri="{FF2B5EF4-FFF2-40B4-BE49-F238E27FC236}">
                <a16:creationId xmlns:a16="http://schemas.microsoft.com/office/drawing/2014/main" id="{3023AEAD-F8EC-41AD-A71F-2BD693C8C8E2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 err="1" smtClean="0">
                <a:solidFill>
                  <a:schemeClr val="tx1"/>
                </a:solidFill>
              </a:rPr>
              <a:t>Kaggle</a:t>
            </a:r>
            <a:r>
              <a:rPr lang="en-US" altLang="zh-CN" sz="1000" dirty="0" smtClean="0">
                <a:solidFill>
                  <a:schemeClr val="tx1"/>
                </a:solidFill>
              </a:rPr>
              <a:t>, World Bank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11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456592" y="4408521"/>
            <a:ext cx="8215132" cy="1196411"/>
            <a:chOff x="624941" y="2463799"/>
            <a:chExt cx="4236949" cy="757468"/>
          </a:xfrm>
        </p:grpSpPr>
        <p:sp>
          <p:nvSpPr>
            <p:cNvPr id="14" name="矩形 13"/>
            <p:cNvSpPr/>
            <p:nvPr/>
          </p:nvSpPr>
          <p:spPr>
            <a:xfrm>
              <a:off x="626534" y="2465639"/>
              <a:ext cx="508000" cy="242712"/>
            </a:xfrm>
            <a:prstGeom prst="rect">
              <a:avLst/>
            </a:prstGeom>
            <a:solidFill>
              <a:srgbClr val="FFD1D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GDP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1141616" y="2465639"/>
              <a:ext cx="1261217" cy="24271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GDP per capita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2402833" y="2463799"/>
              <a:ext cx="1735444" cy="24455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Household Consumption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4138908" y="2463800"/>
              <a:ext cx="722982" cy="242712"/>
            </a:xfrm>
            <a:prstGeom prst="rect">
              <a:avLst/>
            </a:prstGeom>
            <a:solidFill>
              <a:srgbClr val="FEC1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PMI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626531" y="2721317"/>
              <a:ext cx="1312335" cy="242712"/>
            </a:xfrm>
            <a:prstGeom prst="rect">
              <a:avLst/>
            </a:prstGeom>
            <a:solidFill>
              <a:srgbClr val="E8B9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Prosperity Index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1950182" y="2720092"/>
              <a:ext cx="378151" cy="24351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M1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2341090" y="2721473"/>
              <a:ext cx="380944" cy="24271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M2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2734941" y="2720898"/>
              <a:ext cx="2126949" cy="24271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10-year Treasury Bond Yield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624941" y="2971062"/>
              <a:ext cx="1459812" cy="250205"/>
            </a:xfrm>
            <a:prstGeom prst="rect">
              <a:avLst/>
            </a:prstGeom>
            <a:solidFill>
              <a:srgbClr val="B0DD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Unemployment Rate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2087326" y="2975350"/>
              <a:ext cx="470277" cy="242712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CPI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2568666" y="2975350"/>
              <a:ext cx="527919" cy="24271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PPI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3107648" y="2974993"/>
              <a:ext cx="1185400" cy="242712"/>
            </a:xfrm>
            <a:prstGeom prst="rect">
              <a:avLst/>
            </a:prstGeom>
            <a:solidFill>
              <a:srgbClr val="FF8F8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GDP Growth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4293048" y="2971063"/>
              <a:ext cx="568842" cy="242712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Amplitude-Regular" panose="02000606040000020004" pitchFamily="2" charset="0"/>
                  <a:cs typeface="Amplitude-Regular" panose="02000606040000020004" pitchFamily="2" charset="0"/>
                </a:rPr>
                <a:t>Etc…</a:t>
              </a:r>
              <a:endParaRPr lang="en-US" dirty="0">
                <a:solidFill>
                  <a:schemeClr val="tx1"/>
                </a:solidFill>
                <a:latin typeface="Amplitude-Regular" panose="02000606040000020004" pitchFamily="2" charset="0"/>
                <a:cs typeface="Amplitude-Regular" panose="020006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253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Initial Data Visualiz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Graph Representation and Interpretat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30618" y="1538309"/>
            <a:ext cx="8261377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raph Representation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14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087738" y="3140245"/>
            <a:ext cx="7427612" cy="124106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 smtClean="0">
                <a:solidFill>
                  <a:prstClr val="black"/>
                </a:solidFill>
              </a:rPr>
              <a:t>Task 1:</a:t>
            </a:r>
            <a:endParaRPr lang="en-US" altLang="zh-CN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Find out how many games each team won and show the result in a bar chart.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The top five teams are Germany, Argentina, Brazil, France and Spain.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42" y="3039692"/>
            <a:ext cx="552509" cy="55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27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Initial Data Visualiz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Graph Representation and Interpretat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30618" y="1538309"/>
            <a:ext cx="8261377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raph Representation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9" name="图片 8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53" y="1921970"/>
            <a:ext cx="7132320" cy="421959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4BA883E8-A149-4AB2-AB53-37F55A627D0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rcRect l="32788" t="12142" r="4136" b="16007"/>
          <a:stretch/>
        </p:blipFill>
        <p:spPr>
          <a:xfrm rot="18918173">
            <a:off x="5553778" y="3019095"/>
            <a:ext cx="1588168" cy="731520"/>
          </a:xfrm>
          <a:prstGeom prst="snipRoundRect">
            <a:avLst>
              <a:gd name="adj1" fmla="val 16667"/>
              <a:gd name="adj2" fmla="val 44298"/>
            </a:avLst>
          </a:prstGeom>
        </p:spPr>
      </p:pic>
      <p:sp>
        <p:nvSpPr>
          <p:cNvPr id="12" name="矩形 11"/>
          <p:cNvSpPr/>
          <p:nvPr/>
        </p:nvSpPr>
        <p:spPr>
          <a:xfrm>
            <a:off x="1386038" y="2208069"/>
            <a:ext cx="567890" cy="3730718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cxnSp>
        <p:nvCxnSpPr>
          <p:cNvPr id="13" name="直接箭头连接符 12"/>
          <p:cNvCxnSpPr/>
          <p:nvPr/>
        </p:nvCxnSpPr>
        <p:spPr>
          <a:xfrm>
            <a:off x="1982804" y="3195587"/>
            <a:ext cx="3378906" cy="269926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Initial Data Visualiz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Graph Representation and Interpretat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30618" y="1538309"/>
            <a:ext cx="8261377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raph Representation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D20C1FE-A57D-4DAA-AA3E-6A0E2900A1E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18" y="1955764"/>
            <a:ext cx="3871875" cy="309750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23AB60B-9F17-4401-86AD-7CA0CCC2C98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004" y="1973421"/>
            <a:ext cx="3849804" cy="3079843"/>
          </a:xfrm>
          <a:prstGeom prst="rect">
            <a:avLst/>
          </a:prstGeom>
        </p:spPr>
      </p:pic>
      <p:sp>
        <p:nvSpPr>
          <p:cNvPr id="11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148196" y="5053264"/>
            <a:ext cx="7427612" cy="10897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 smtClean="0">
                <a:solidFill>
                  <a:prstClr val="black"/>
                </a:solidFill>
              </a:rPr>
              <a:t>Task 2:</a:t>
            </a:r>
            <a:endParaRPr lang="en-US" altLang="zh-CN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Find out the matches between the top five teams </a:t>
            </a:r>
            <a:r>
              <a:rPr lang="en-US" altLang="zh-CN" sz="1400" dirty="0" smtClean="0">
                <a:solidFill>
                  <a:prstClr val="black"/>
                </a:solidFill>
              </a:rPr>
              <a:t>in World Cup</a:t>
            </a:r>
            <a:r>
              <a:rPr lang="en-US" altLang="zh-CN" sz="1400" dirty="0">
                <a:solidFill>
                  <a:prstClr val="black"/>
                </a:solidFill>
              </a:rPr>
              <a:t>.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 smtClean="0">
                <a:solidFill>
                  <a:prstClr val="black"/>
                </a:solidFill>
              </a:rPr>
              <a:t>Interesting note: Argentina always win over Spain in the World Cup history.</a:t>
            </a:r>
            <a:endParaRPr lang="en-US" altLang="zh-CN" sz="1400" dirty="0">
              <a:solidFill>
                <a:prstClr val="black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34" y="5145979"/>
            <a:ext cx="552509" cy="55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23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Initial Data Visualiz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Graph Representation and Interpretat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30618" y="1538309"/>
            <a:ext cx="8261377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raph Representation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053D756F-EC6C-4D5E-BCFD-5240FD3461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2087403"/>
            <a:ext cx="3911379" cy="2933535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734BDE03-0196-487F-A38F-6ADD82D066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666" y="2087403"/>
            <a:ext cx="3911379" cy="2933535"/>
          </a:xfrm>
          <a:prstGeom prst="rect">
            <a:avLst/>
          </a:prstGeom>
        </p:spPr>
      </p:pic>
      <p:sp>
        <p:nvSpPr>
          <p:cNvPr id="11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148196" y="5136835"/>
            <a:ext cx="7427612" cy="87318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 smtClean="0">
                <a:solidFill>
                  <a:prstClr val="black"/>
                </a:solidFill>
              </a:rPr>
              <a:t>Task 3:</a:t>
            </a:r>
            <a:endParaRPr lang="en-US" altLang="zh-CN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Find out the </a:t>
            </a:r>
            <a:r>
              <a:rPr lang="en-US" altLang="zh-CN" sz="1400" dirty="0" smtClean="0">
                <a:solidFill>
                  <a:prstClr val="black"/>
                </a:solidFill>
              </a:rPr>
              <a:t>winning percentage between arbitrary two teams in </a:t>
            </a:r>
            <a:r>
              <a:rPr lang="en-US" altLang="zh-CN" sz="1400" dirty="0">
                <a:solidFill>
                  <a:prstClr val="black"/>
                </a:solidFill>
              </a:rPr>
              <a:t>the given interval. 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36282"/>
            <a:ext cx="552509" cy="55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6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15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7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711506" y="3425441"/>
            <a:ext cx="7950468" cy="2537481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0FCE0980-07AA-4BEC-ADF5-5977C4E20088}"/>
              </a:ext>
            </a:extLst>
          </p:cNvPr>
          <p:cNvSpPr/>
          <p:nvPr/>
        </p:nvSpPr>
        <p:spPr>
          <a:xfrm>
            <a:off x="711506" y="1603203"/>
            <a:ext cx="7950468" cy="1219347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78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Data Preprocessing (Feature Engineering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ee-Based Representation of Game 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36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Exampl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02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graphicFrame>
        <p:nvGraphicFramePr>
          <p:cNvPr id="9" name="图示 8">
            <a:extLst>
              <a:ext uri="{FF2B5EF4-FFF2-40B4-BE49-F238E27FC236}">
                <a16:creationId xmlns:a16="http://schemas.microsoft.com/office/drawing/2014/main" id="{457B3482-B8D3-46A0-BD17-C2BEA81C6C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0611422"/>
              </p:ext>
            </p:extLst>
          </p:nvPr>
        </p:nvGraphicFramePr>
        <p:xfrm>
          <a:off x="948590" y="1920290"/>
          <a:ext cx="7231140" cy="3934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矩形 10">
            <a:extLst>
              <a:ext uri="{FF2B5EF4-FFF2-40B4-BE49-F238E27FC236}">
                <a16:creationId xmlns:a16="http://schemas.microsoft.com/office/drawing/2014/main" id="{2883EE3A-35D4-4FEA-B57E-6825CE68DD0C}"/>
              </a:ext>
            </a:extLst>
          </p:cNvPr>
          <p:cNvSpPr/>
          <p:nvPr/>
        </p:nvSpPr>
        <p:spPr>
          <a:xfrm>
            <a:off x="849865" y="4250267"/>
            <a:ext cx="1063602" cy="326850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17" name="云形标注 16"/>
          <p:cNvSpPr/>
          <p:nvPr/>
        </p:nvSpPr>
        <p:spPr>
          <a:xfrm>
            <a:off x="3244859" y="2344867"/>
            <a:ext cx="1200150" cy="531457"/>
          </a:xfrm>
          <a:prstGeom prst="cloudCallout">
            <a:avLst>
              <a:gd name="adj1" fmla="val 13498"/>
              <a:gd name="adj2" fmla="val 85357"/>
            </a:avLst>
          </a:prstGeom>
          <a:solidFill>
            <a:srgbClr val="A90F2C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/>
              <a:t>Third Place</a:t>
            </a:r>
            <a:endParaRPr lang="zh-CN" altLang="en-US" sz="1200" dirty="0" smtClean="0"/>
          </a:p>
        </p:txBody>
      </p:sp>
      <p:sp>
        <p:nvSpPr>
          <p:cNvPr id="18" name="云形标注 17"/>
          <p:cNvSpPr/>
          <p:nvPr/>
        </p:nvSpPr>
        <p:spPr>
          <a:xfrm>
            <a:off x="1800225" y="2741978"/>
            <a:ext cx="1213908" cy="531457"/>
          </a:xfrm>
          <a:prstGeom prst="cloudCallout">
            <a:avLst>
              <a:gd name="adj1" fmla="val 28310"/>
              <a:gd name="adj2" fmla="val 109752"/>
            </a:avLst>
          </a:prstGeom>
          <a:solidFill>
            <a:srgbClr val="002060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/>
              <a:t>Second Place</a:t>
            </a:r>
            <a:endParaRPr lang="zh-CN" altLang="en-US" sz="1200" dirty="0" smtClean="0"/>
          </a:p>
        </p:txBody>
      </p:sp>
      <p:sp>
        <p:nvSpPr>
          <p:cNvPr id="19" name="云形标注 18"/>
          <p:cNvSpPr/>
          <p:nvPr/>
        </p:nvSpPr>
        <p:spPr>
          <a:xfrm>
            <a:off x="245651" y="3166529"/>
            <a:ext cx="1464616" cy="423746"/>
          </a:xfrm>
          <a:prstGeom prst="cloudCallout">
            <a:avLst>
              <a:gd name="adj1" fmla="val 20408"/>
              <a:gd name="adj2" fmla="val 190091"/>
            </a:avLst>
          </a:prstGeom>
          <a:solidFill>
            <a:srgbClr val="EAA427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>
                <a:solidFill>
                  <a:schemeClr val="bg1"/>
                </a:solidFill>
              </a:rPr>
              <a:t>Champion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2883EE3A-35D4-4FEA-B57E-6825CE68DD0C}"/>
              </a:ext>
            </a:extLst>
          </p:cNvPr>
          <p:cNvSpPr/>
          <p:nvPr/>
        </p:nvSpPr>
        <p:spPr>
          <a:xfrm>
            <a:off x="2128333" y="3673504"/>
            <a:ext cx="1063602" cy="326850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883EE3A-35D4-4FEA-B57E-6825CE68DD0C}"/>
              </a:ext>
            </a:extLst>
          </p:cNvPr>
          <p:cNvSpPr/>
          <p:nvPr/>
        </p:nvSpPr>
        <p:spPr>
          <a:xfrm>
            <a:off x="3381407" y="3166529"/>
            <a:ext cx="1063602" cy="326850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897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Data Preprocessing (Feature Engineering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ee-Based Features 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36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126" name="Rechteck 29">
            <a:extLst>
              <a:ext uri="{FF2B5EF4-FFF2-40B4-BE49-F238E27FC236}">
                <a16:creationId xmlns:a16="http://schemas.microsoft.com/office/drawing/2014/main" id="{23B94EE3-60B8-4D8B-9B6D-97FD897BFE1B}"/>
              </a:ext>
            </a:extLst>
          </p:cNvPr>
          <p:cNvSpPr/>
          <p:nvPr/>
        </p:nvSpPr>
        <p:spPr>
          <a:xfrm>
            <a:off x="1064183" y="2094507"/>
            <a:ext cx="7607544" cy="20789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>
                <a:solidFill>
                  <a:schemeClr val="tx1"/>
                </a:solidFill>
              </a:rPr>
              <a:t>Further Explanation:</a:t>
            </a:r>
          </a:p>
          <a:p>
            <a:pPr marL="342900" indent="-342900">
              <a:lnSpc>
                <a:spcPct val="150000"/>
              </a:lnSpc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e made the annual situation of the game into the shape of a tree. The father of each node is the team that defeated itself. 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sz="1400" i="1" dirty="0">
                <a:solidFill>
                  <a:schemeClr val="tx1"/>
                </a:solidFill>
              </a:rPr>
              <a:t>For example, Germany was defeated by Italy, Italy was defeated by Brazil, and Brazil was the champion.</a:t>
            </a:r>
          </a:p>
          <a:p>
            <a:pPr marL="285750" indent="-285750">
              <a:lnSpc>
                <a:spcPct val="150000"/>
              </a:lnSpc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xtract some features from it, such as depth, number of descendants, etc.</a:t>
            </a:r>
          </a:p>
        </p:txBody>
      </p:sp>
      <p:pic>
        <p:nvPicPr>
          <p:cNvPr id="127" name="图片 126">
            <a:extLst>
              <a:ext uri="{FF2B5EF4-FFF2-40B4-BE49-F238E27FC236}">
                <a16:creationId xmlns:a16="http://schemas.microsoft.com/office/drawing/2014/main" id="{84C9E736-A556-40CA-BDDE-2A3B330EE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3" y="2229397"/>
            <a:ext cx="554083" cy="554083"/>
          </a:xfrm>
          <a:prstGeom prst="rect">
            <a:avLst/>
          </a:prstGeom>
        </p:spPr>
      </p:pic>
      <p:sp>
        <p:nvSpPr>
          <p:cNvPr id="1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938CDEB-7653-4581-8CEE-D3ACB8E6E5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44" b="45341"/>
          <a:stretch/>
        </p:blipFill>
        <p:spPr>
          <a:xfrm>
            <a:off x="1382625" y="4340603"/>
            <a:ext cx="3225888" cy="17285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4D96F7A-F899-4D35-BAEB-4C3ADEBE07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5399" r="8154"/>
          <a:stretch/>
        </p:blipFill>
        <p:spPr>
          <a:xfrm>
            <a:off x="4730021" y="4340603"/>
            <a:ext cx="3483096" cy="1728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27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18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711506" y="4034903"/>
            <a:ext cx="7950468" cy="1928019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7" name="Rectangle 18">
            <a:extLst>
              <a:ext uri="{FF2B5EF4-FFF2-40B4-BE49-F238E27FC236}">
                <a16:creationId xmlns:a16="http://schemas.microsoft.com/office/drawing/2014/main" id="{0FCE0980-07AA-4BEC-ADF5-5977C4E20088}"/>
              </a:ext>
            </a:extLst>
          </p:cNvPr>
          <p:cNvSpPr/>
          <p:nvPr/>
        </p:nvSpPr>
        <p:spPr>
          <a:xfrm>
            <a:off x="711506" y="1603203"/>
            <a:ext cx="7950468" cy="1825795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82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ur Proposal: Machine Learning Metho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Model Input and Output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16DC161A-1858-4809-9402-E9B59EDD9B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8515" y="3118937"/>
            <a:ext cx="1176733" cy="105447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8E55F81C-4057-492C-8490-B943A4B555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8040" y="2708250"/>
            <a:ext cx="326631" cy="299303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42F7D780-3D11-4EA6-BA18-B3D067B7C1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6027" y="4665727"/>
            <a:ext cx="347774" cy="299303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4EAA1186-3A99-4FF3-9BC1-DE988E187226}"/>
              </a:ext>
            </a:extLst>
          </p:cNvPr>
          <p:cNvSpPr/>
          <p:nvPr/>
        </p:nvSpPr>
        <p:spPr>
          <a:xfrm>
            <a:off x="565168" y="4264755"/>
            <a:ext cx="1391978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Various Dimension Data</a:t>
            </a:r>
            <a:endParaRPr lang="zh-CN" altLang="en-US" sz="1200" b="1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91E7169-66B4-4A3C-AD45-C827691A856C}"/>
              </a:ext>
            </a:extLst>
          </p:cNvPr>
          <p:cNvSpPr/>
          <p:nvPr/>
        </p:nvSpPr>
        <p:spPr>
          <a:xfrm>
            <a:off x="2913822" y="4249530"/>
            <a:ext cx="9498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 smtClean="0"/>
              <a:t>Machine</a:t>
            </a:r>
          </a:p>
          <a:p>
            <a:pPr algn="ctr">
              <a:lnSpc>
                <a:spcPct val="90000"/>
              </a:lnSpc>
            </a:pPr>
            <a:r>
              <a:rPr lang="en-US" altLang="zh-CN" sz="1200" b="1" dirty="0" smtClean="0"/>
              <a:t>Learning</a:t>
            </a:r>
          </a:p>
          <a:p>
            <a:pPr algn="ctr">
              <a:lnSpc>
                <a:spcPct val="90000"/>
              </a:lnSpc>
            </a:pPr>
            <a:r>
              <a:rPr lang="en-US" altLang="zh-CN" sz="1200" b="1" dirty="0" smtClean="0"/>
              <a:t>Model</a:t>
            </a:r>
            <a:endParaRPr lang="zh-CN" altLang="en-US" sz="1200" b="1" dirty="0"/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93659E76-693D-4801-A186-9F21595D12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5057" y="3435357"/>
            <a:ext cx="1074434" cy="710715"/>
          </a:xfrm>
          <a:prstGeom prst="rect">
            <a:avLst/>
          </a:prstGeom>
        </p:spPr>
      </p:pic>
      <p:sp>
        <p:nvSpPr>
          <p:cNvPr id="27" name="矩形 26">
            <a:extLst>
              <a:ext uri="{FF2B5EF4-FFF2-40B4-BE49-F238E27FC236}">
                <a16:creationId xmlns:a16="http://schemas.microsoft.com/office/drawing/2014/main" id="{2273A31C-EE13-445D-B3E7-3827BEE1FC69}"/>
              </a:ext>
            </a:extLst>
          </p:cNvPr>
          <p:cNvSpPr/>
          <p:nvPr/>
        </p:nvSpPr>
        <p:spPr>
          <a:xfrm>
            <a:off x="4652346" y="4203327"/>
            <a:ext cx="1235927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Output Prediction</a:t>
            </a:r>
            <a:endParaRPr lang="zh-CN" altLang="en-US" sz="1200" b="1" dirty="0"/>
          </a:p>
        </p:txBody>
      </p:sp>
      <p:sp>
        <p:nvSpPr>
          <p:cNvPr id="28" name="箭头: 右 29">
            <a:extLst>
              <a:ext uri="{FF2B5EF4-FFF2-40B4-BE49-F238E27FC236}">
                <a16:creationId xmlns:a16="http://schemas.microsoft.com/office/drawing/2014/main" id="{51D0C44E-FBBF-4D61-9F48-0230A2DC8C11}"/>
              </a:ext>
            </a:extLst>
          </p:cNvPr>
          <p:cNvSpPr/>
          <p:nvPr/>
        </p:nvSpPr>
        <p:spPr>
          <a:xfrm rot="19237312">
            <a:off x="5642250" y="3070325"/>
            <a:ext cx="954157" cy="35867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29" name="箭头: 右 30">
            <a:extLst>
              <a:ext uri="{FF2B5EF4-FFF2-40B4-BE49-F238E27FC236}">
                <a16:creationId xmlns:a16="http://schemas.microsoft.com/office/drawing/2014/main" id="{8289E2ED-EA36-41F5-9745-E985C5E9C344}"/>
              </a:ext>
            </a:extLst>
          </p:cNvPr>
          <p:cNvSpPr/>
          <p:nvPr/>
        </p:nvSpPr>
        <p:spPr>
          <a:xfrm rot="2362688" flipV="1">
            <a:off x="5642251" y="4214048"/>
            <a:ext cx="954157" cy="35867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07CC25F7-F392-4AA7-A5BF-447764420AEE}"/>
              </a:ext>
            </a:extLst>
          </p:cNvPr>
          <p:cNvSpPr/>
          <p:nvPr/>
        </p:nvSpPr>
        <p:spPr>
          <a:xfrm>
            <a:off x="6837510" y="2681008"/>
            <a:ext cx="1836857" cy="2585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Win</a:t>
            </a:r>
            <a:endParaRPr lang="zh-CN" altLang="en-US" sz="1200" b="1" dirty="0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F2B1D84-795F-4A2B-BCA2-88AD12022E68}"/>
              </a:ext>
            </a:extLst>
          </p:cNvPr>
          <p:cNvSpPr/>
          <p:nvPr/>
        </p:nvSpPr>
        <p:spPr>
          <a:xfrm>
            <a:off x="6837510" y="4686113"/>
            <a:ext cx="1836857" cy="2585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Lose</a:t>
            </a:r>
            <a:endParaRPr lang="zh-CN" altLang="en-US" sz="1200" b="1" dirty="0"/>
          </a:p>
        </p:txBody>
      </p:sp>
      <p:sp>
        <p:nvSpPr>
          <p:cNvPr id="32" name="箭头: 右 33">
            <a:extLst>
              <a:ext uri="{FF2B5EF4-FFF2-40B4-BE49-F238E27FC236}">
                <a16:creationId xmlns:a16="http://schemas.microsoft.com/office/drawing/2014/main" id="{729C6184-7E3E-404C-9245-2970EF48FD60}"/>
              </a:ext>
            </a:extLst>
          </p:cNvPr>
          <p:cNvSpPr/>
          <p:nvPr/>
        </p:nvSpPr>
        <p:spPr>
          <a:xfrm>
            <a:off x="2033071" y="3682624"/>
            <a:ext cx="627510" cy="29875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33" name="箭头: 右 34">
            <a:extLst>
              <a:ext uri="{FF2B5EF4-FFF2-40B4-BE49-F238E27FC236}">
                <a16:creationId xmlns:a16="http://schemas.microsoft.com/office/drawing/2014/main" id="{366E0A0C-FD7E-4680-BB1D-A711F57E9395}"/>
              </a:ext>
            </a:extLst>
          </p:cNvPr>
          <p:cNvSpPr/>
          <p:nvPr/>
        </p:nvSpPr>
        <p:spPr>
          <a:xfrm>
            <a:off x="4068587" y="3683366"/>
            <a:ext cx="627510" cy="29875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2883EE3A-35D4-4FEA-B57E-6825CE68DD0C}"/>
              </a:ext>
            </a:extLst>
          </p:cNvPr>
          <p:cNvSpPr/>
          <p:nvPr/>
        </p:nvSpPr>
        <p:spPr>
          <a:xfrm>
            <a:off x="2749975" y="2808363"/>
            <a:ext cx="1242687" cy="2238627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F5AB608-FDD9-4FD3-A22D-C50FFA7F2E58}"/>
              </a:ext>
            </a:extLst>
          </p:cNvPr>
          <p:cNvSpPr/>
          <p:nvPr/>
        </p:nvSpPr>
        <p:spPr>
          <a:xfrm>
            <a:off x="2692013" y="5176700"/>
            <a:ext cx="1447177" cy="2585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Core of work</a:t>
            </a:r>
            <a:endParaRPr lang="zh-CN" altLang="en-US" sz="1200" b="1" dirty="0"/>
          </a:p>
        </p:txBody>
      </p:sp>
      <p:sp>
        <p:nvSpPr>
          <p:cNvPr id="36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Approach Overview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167" y="3568103"/>
            <a:ext cx="1446136" cy="187340"/>
          </a:xfrm>
          <a:prstGeom prst="rect">
            <a:avLst/>
          </a:prstGeom>
        </p:spPr>
      </p:pic>
      <p:pic>
        <p:nvPicPr>
          <p:cNvPr id="8" name="图片 7" descr="屏幕剪辑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62" y="3919587"/>
            <a:ext cx="1446136" cy="253825"/>
          </a:xfrm>
          <a:prstGeom prst="rect">
            <a:avLst/>
          </a:prstGeom>
        </p:spPr>
      </p:pic>
      <p:sp>
        <p:nvSpPr>
          <p:cNvPr id="39" name="箭头: 右 34">
            <a:extLst>
              <a:ext uri="{FF2B5EF4-FFF2-40B4-BE49-F238E27FC236}">
                <a16:creationId xmlns:a16="http://schemas.microsoft.com/office/drawing/2014/main" id="{366E0A0C-FD7E-4680-BB1D-A711F57E9395}"/>
              </a:ext>
            </a:extLst>
          </p:cNvPr>
          <p:cNvSpPr/>
          <p:nvPr/>
        </p:nvSpPr>
        <p:spPr>
          <a:xfrm>
            <a:off x="5805573" y="3682623"/>
            <a:ext cx="627510" cy="29875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3F2B1D84-795F-4A2B-BCA2-88AD12022E68}"/>
              </a:ext>
            </a:extLst>
          </p:cNvPr>
          <p:cNvSpPr/>
          <p:nvPr/>
        </p:nvSpPr>
        <p:spPr>
          <a:xfrm>
            <a:off x="6857905" y="3702734"/>
            <a:ext cx="1836857" cy="2585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200" b="1" dirty="0"/>
              <a:t>Draw</a:t>
            </a:r>
            <a:endParaRPr lang="zh-CN" altLang="en-US" sz="1200" b="1" dirty="0"/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7644" y="3721194"/>
            <a:ext cx="289247" cy="279452"/>
          </a:xfrm>
          <a:prstGeom prst="rect">
            <a:avLst/>
          </a:prstGeom>
        </p:spPr>
      </p:pic>
      <p:sp>
        <p:nvSpPr>
          <p:cNvPr id="40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</p:spTree>
    <p:extLst>
      <p:ext uri="{BB962C8B-B14F-4D97-AF65-F5344CB8AC3E}">
        <p14:creationId xmlns:p14="http://schemas.microsoft.com/office/powerpoint/2010/main" val="129906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trodu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Project Backgroun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4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13" name="Rechteck 29">
            <a:extLst>
              <a:ext uri="{FF2B5EF4-FFF2-40B4-BE49-F238E27FC236}">
                <a16:creationId xmlns:a16="http://schemas.microsoft.com/office/drawing/2014/main" id="{05CF8888-9A78-467D-8AFA-C0CD70F8E4CC}"/>
              </a:ext>
            </a:extLst>
          </p:cNvPr>
          <p:cNvSpPr/>
          <p:nvPr/>
        </p:nvSpPr>
        <p:spPr>
          <a:xfrm>
            <a:off x="1191951" y="2129434"/>
            <a:ext cx="7494849" cy="153946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214313" indent="-214313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altLang="zh-CN" sz="1400" b="1" dirty="0">
                <a:solidFill>
                  <a:schemeClr val="tx1"/>
                </a:solidFill>
              </a:rPr>
              <a:t>Like the previous FIFA World Cup 2014, the tournament in Russia has also caught the attention of several modelers who try to predict the tournament winner. </a:t>
            </a:r>
            <a:r>
              <a:rPr lang="en-US" altLang="zh-CN" sz="1400" dirty="0">
                <a:solidFill>
                  <a:schemeClr val="tx1"/>
                </a:solidFill>
              </a:rPr>
              <a:t>(</a:t>
            </a:r>
            <a:r>
              <a:rPr lang="de-DE" altLang="zh-CN" sz="1400" dirty="0">
                <a:solidFill>
                  <a:schemeClr val="tx1"/>
                </a:solidFill>
              </a:rPr>
              <a:t>Leitner, Zeileis, and Hornik, 2010b, Zeileis, Leitner, and Hornik, 2012, 2014, 2016</a:t>
            </a:r>
            <a:r>
              <a:rPr lang="en-US" altLang="zh-CN" sz="1400" dirty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3462894-5F07-4362-8F7C-E5824224B2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3" y="2275118"/>
            <a:ext cx="529996" cy="490246"/>
          </a:xfrm>
          <a:prstGeom prst="rect">
            <a:avLst/>
          </a:prstGeom>
        </p:spPr>
      </p:pic>
      <p:sp>
        <p:nvSpPr>
          <p:cNvPr id="16" name="Rechteck 29">
            <a:extLst>
              <a:ext uri="{FF2B5EF4-FFF2-40B4-BE49-F238E27FC236}">
                <a16:creationId xmlns:a16="http://schemas.microsoft.com/office/drawing/2014/main" id="{37FFD1C4-6BBB-4469-A4B7-8E4382755338}"/>
              </a:ext>
            </a:extLst>
          </p:cNvPr>
          <p:cNvSpPr/>
          <p:nvPr/>
        </p:nvSpPr>
        <p:spPr>
          <a:xfrm>
            <a:off x="1191951" y="4036782"/>
            <a:ext cx="7479775" cy="19327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214313" indent="-214313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altLang="zh-CN" sz="1400" dirty="0">
                <a:solidFill>
                  <a:schemeClr val="tx1"/>
                </a:solidFill>
              </a:rPr>
              <a:t>Existing approaches:</a:t>
            </a:r>
          </a:p>
          <a:p>
            <a:pPr marL="214313" indent="-214313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altLang="zh-CN" sz="1400" i="1" dirty="0">
                <a:solidFill>
                  <a:schemeClr val="tx1"/>
                </a:solidFill>
              </a:rPr>
              <a:t>1. Poisson Regression Models </a:t>
            </a:r>
          </a:p>
          <a:p>
            <a:pPr marL="214313" indent="-214313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altLang="zh-CN" sz="1400" i="1" dirty="0">
                <a:solidFill>
                  <a:schemeClr val="tx1"/>
                </a:solidFill>
              </a:rPr>
              <a:t>2. Ranking Methods</a:t>
            </a:r>
          </a:p>
          <a:p>
            <a:pPr marL="214313" indent="-214313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altLang="zh-CN" sz="1400" i="1" dirty="0">
                <a:solidFill>
                  <a:schemeClr val="tx1"/>
                </a:solidFill>
              </a:rPr>
              <a:t>3. Tree-based Methods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A24F4557-855B-414E-A26C-DCF608CD6A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3" y="4132807"/>
            <a:ext cx="529996" cy="529996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60A49156-D33F-4C8F-A4EA-307C7383C818}"/>
              </a:ext>
            </a:extLst>
          </p:cNvPr>
          <p:cNvSpPr txBox="1"/>
          <p:nvPr/>
        </p:nvSpPr>
        <p:spPr>
          <a:xfrm>
            <a:off x="2357438" y="6356349"/>
            <a:ext cx="857250" cy="3571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zh-CN" altLang="en-US" dirty="0" err="1"/>
          </a:p>
        </p:txBody>
      </p:sp>
    </p:spTree>
    <p:extLst>
      <p:ext uri="{BB962C8B-B14F-4D97-AF65-F5344CB8AC3E}">
        <p14:creationId xmlns:p14="http://schemas.microsoft.com/office/powerpoint/2010/main" val="138170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ur Proposal: Machine Learning Metho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Multi-Grained Cascade Fores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A0E9DEA-BDED-4A75-A881-CF77747BA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4" name="Rechteck 34">
            <a:extLst>
              <a:ext uri="{FF2B5EF4-FFF2-40B4-BE49-F238E27FC236}">
                <a16:creationId xmlns:a16="http://schemas.microsoft.com/office/drawing/2014/main" id="{053551B4-B712-4FAE-B225-6A699D91AC9D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-2769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16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009103" y="2068249"/>
            <a:ext cx="3589885" cy="395847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>
                <a:solidFill>
                  <a:prstClr val="black"/>
                </a:solidFill>
              </a:rPr>
              <a:t>An example: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endParaRPr lang="en-US" altLang="zh-CN" sz="14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According to environmental variables, we want to predict whether or not to play golf.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endParaRPr lang="en-US" altLang="zh-CN" sz="14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The parameters here are all learned during the training process, and if the number of layers and the number of branches are much larger, complex problems can be predicted. 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3" y="2102696"/>
            <a:ext cx="552509" cy="552509"/>
          </a:xfrm>
          <a:prstGeom prst="rect">
            <a:avLst/>
          </a:prstGeom>
        </p:spPr>
      </p:pic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20" name="内容占位符 3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789" y="2710564"/>
            <a:ext cx="3614561" cy="2548486"/>
          </a:xfrm>
        </p:spPr>
      </p:pic>
    </p:spTree>
    <p:extLst>
      <p:ext uri="{BB962C8B-B14F-4D97-AF65-F5344CB8AC3E}">
        <p14:creationId xmlns:p14="http://schemas.microsoft.com/office/powerpoint/2010/main" val="350429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ur Proposal: Machine Learning Metho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Multi-Grained Cascade Fores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A0E9DEA-BDED-4A75-A881-CF77747BA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4" name="Rechteck 34">
            <a:extLst>
              <a:ext uri="{FF2B5EF4-FFF2-40B4-BE49-F238E27FC236}">
                <a16:creationId xmlns:a16="http://schemas.microsoft.com/office/drawing/2014/main" id="{053551B4-B712-4FAE-B225-6A699D91AC9D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-2769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Further Illustration</a:t>
            </a:r>
          </a:p>
        </p:txBody>
      </p:sp>
      <p:sp>
        <p:nvSpPr>
          <p:cNvPr id="16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009103" y="4265467"/>
            <a:ext cx="7599765" cy="17612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Multiple trees with different parameters form a </a:t>
            </a:r>
            <a:r>
              <a:rPr lang="en-US" altLang="zh-CN" sz="1400" b="1" u="sng" dirty="0">
                <a:solidFill>
                  <a:prstClr val="black"/>
                </a:solidFill>
              </a:rPr>
              <a:t>random forest</a:t>
            </a:r>
            <a:r>
              <a:rPr lang="en-US" altLang="zh-CN" sz="1400" dirty="0">
                <a:solidFill>
                  <a:prstClr val="black"/>
                </a:solidFill>
              </a:rPr>
              <a:t>, and the output of random forests is determined by all trees.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endParaRPr lang="en-US" altLang="zh-CN" sz="14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The output of the random forest is regarded as the extraction of the input features, and iteratively continues, which is the meaning of the </a:t>
            </a:r>
            <a:r>
              <a:rPr lang="en-US" altLang="zh-CN" sz="1400" b="1" u="sng" dirty="0">
                <a:solidFill>
                  <a:prstClr val="black"/>
                </a:solidFill>
              </a:rPr>
              <a:t>cascade</a:t>
            </a:r>
            <a:r>
              <a:rPr lang="en-US" altLang="zh-CN" sz="14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01" y="4359181"/>
            <a:ext cx="552509" cy="552509"/>
          </a:xfrm>
          <a:prstGeom prst="rect">
            <a:avLst/>
          </a:prstGeom>
        </p:spPr>
      </p:pic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13" name="内容占位符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9077" y="1902001"/>
            <a:ext cx="4943566" cy="2274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7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ur Proposal: Machine Learning Metho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Multi-Grained Cascade Fores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A0E9DEA-BDED-4A75-A881-CF77747BA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14" name="Rechteck 34">
            <a:extLst>
              <a:ext uri="{FF2B5EF4-FFF2-40B4-BE49-F238E27FC236}">
                <a16:creationId xmlns:a16="http://schemas.microsoft.com/office/drawing/2014/main" id="{053551B4-B712-4FAE-B225-6A699D91AC9D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-2769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Further Illustration</a:t>
            </a:r>
          </a:p>
        </p:txBody>
      </p:sp>
      <p:sp>
        <p:nvSpPr>
          <p:cNvPr id="16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456593" y="2886096"/>
            <a:ext cx="3575080" cy="266264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At the same time, we will sample the input multiple times, such as 400-dimensional input, and take every 100 consecutive dimensions to get 301 new instances.</a:t>
            </a:r>
          </a:p>
          <a:p>
            <a:pPr>
              <a:lnSpc>
                <a:spcPct val="150000"/>
              </a:lnSpc>
              <a:buClr>
                <a:srgbClr val="002060"/>
              </a:buClr>
            </a:pPr>
            <a:endParaRPr lang="en-US" altLang="zh-CN" sz="14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This sampling can better identify the connections between the data, which is good for prediction.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3" y="2085325"/>
            <a:ext cx="552509" cy="552509"/>
          </a:xfrm>
          <a:prstGeom prst="rect">
            <a:avLst/>
          </a:prstGeom>
        </p:spPr>
      </p:pic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19" name="内容占位符 3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166755" y="2361581"/>
            <a:ext cx="4442112" cy="290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12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ur Proposal: Machine Learning Metho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Multi-Grained Cascade Fores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A0E9DEA-BDED-4A75-A881-CF77747BA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4" name="Rechteck 34">
            <a:extLst>
              <a:ext uri="{FF2B5EF4-FFF2-40B4-BE49-F238E27FC236}">
                <a16:creationId xmlns:a16="http://schemas.microsoft.com/office/drawing/2014/main" id="{053551B4-B712-4FAE-B225-6A699D91AC9D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-2769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Python Cod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B4D4C3B-AA4E-42B3-A084-FA6267FF6D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934" b="33368"/>
          <a:stretch/>
        </p:blipFill>
        <p:spPr>
          <a:xfrm>
            <a:off x="441164" y="1976922"/>
            <a:ext cx="4592439" cy="334276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2667DEE2-37F7-46DA-8807-60404A1E5E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65721" r="22289"/>
          <a:stretch/>
        </p:blipFill>
        <p:spPr>
          <a:xfrm>
            <a:off x="5187222" y="2691840"/>
            <a:ext cx="3602449" cy="17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4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4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7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711506" y="4694852"/>
            <a:ext cx="7950468" cy="1268070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0FCE0980-07AA-4BEC-ADF5-5977C4E20088}"/>
              </a:ext>
            </a:extLst>
          </p:cNvPr>
          <p:cNvSpPr/>
          <p:nvPr/>
        </p:nvSpPr>
        <p:spPr>
          <a:xfrm>
            <a:off x="736333" y="1518570"/>
            <a:ext cx="7950468" cy="2511393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91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>
                <a:solidFill>
                  <a:prstClr val="black"/>
                </a:solidFill>
              </a:rPr>
              <a:t>Result Graph Presentation</a:t>
            </a:r>
            <a:endParaRPr lang="en-US" altLang="zh-CN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 smtClean="0"/>
              <a:t>2022 Qatar World Cup Prediction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30618" y="1538309"/>
            <a:ext cx="8261377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raph Representation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2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1032" name="Picture 8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083" y="2784639"/>
            <a:ext cx="782205" cy="55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083" y="4283017"/>
            <a:ext cx="780307" cy="52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0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281" y="3574914"/>
            <a:ext cx="780307" cy="52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7488" y="4734416"/>
            <a:ext cx="782205" cy="55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383" y="5285218"/>
            <a:ext cx="782205" cy="55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右大括号 8"/>
          <p:cNvSpPr/>
          <p:nvPr/>
        </p:nvSpPr>
        <p:spPr>
          <a:xfrm>
            <a:off x="1709530" y="3180522"/>
            <a:ext cx="775253" cy="1371600"/>
          </a:xfrm>
          <a:prstGeom prst="rightBrace">
            <a:avLst>
              <a:gd name="adj1" fmla="val 44231"/>
              <a:gd name="adj2" fmla="val 50000"/>
            </a:avLst>
          </a:prstGeom>
          <a:ln w="190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36" name="Picture 1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408" y="2756433"/>
            <a:ext cx="908393" cy="56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7290" y="3528960"/>
            <a:ext cx="908393" cy="56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Related image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6008" y="3040306"/>
            <a:ext cx="1285010" cy="1285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316" y="2350972"/>
            <a:ext cx="908393" cy="56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右大括号 44"/>
          <p:cNvSpPr/>
          <p:nvPr/>
        </p:nvSpPr>
        <p:spPr>
          <a:xfrm flipH="1">
            <a:off x="6972090" y="3100023"/>
            <a:ext cx="702820" cy="1345978"/>
          </a:xfrm>
          <a:prstGeom prst="rightBrace">
            <a:avLst>
              <a:gd name="adj1" fmla="val 44231"/>
              <a:gd name="adj2" fmla="val 50000"/>
            </a:avLst>
          </a:prstGeom>
          <a:ln w="190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42" name="Picture 18" descr="Image result for æå¤§å©å½æ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976" y="4189734"/>
            <a:ext cx="861825" cy="575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8" descr="Image result for æå¤§å©å½æ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573" y="5329443"/>
            <a:ext cx="861825" cy="575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右大括号 47"/>
          <p:cNvSpPr/>
          <p:nvPr/>
        </p:nvSpPr>
        <p:spPr>
          <a:xfrm rot="5400000" flipH="1">
            <a:off x="4503547" y="4373523"/>
            <a:ext cx="339066" cy="2387600"/>
          </a:xfrm>
          <a:prstGeom prst="rightBrace">
            <a:avLst>
              <a:gd name="adj1" fmla="val 44231"/>
              <a:gd name="adj2" fmla="val 50000"/>
            </a:avLst>
          </a:prstGeom>
          <a:ln w="190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云形标注 48"/>
          <p:cNvSpPr/>
          <p:nvPr/>
        </p:nvSpPr>
        <p:spPr>
          <a:xfrm>
            <a:off x="2660873" y="2637565"/>
            <a:ext cx="1276973" cy="505282"/>
          </a:xfrm>
          <a:prstGeom prst="cloudCallout">
            <a:avLst>
              <a:gd name="adj1" fmla="val -6698"/>
              <a:gd name="adj2" fmla="val 114461"/>
            </a:avLst>
          </a:prstGeom>
          <a:solidFill>
            <a:srgbClr val="002060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/>
              <a:t>Second Place</a:t>
            </a:r>
            <a:endParaRPr lang="zh-CN" altLang="en-US" sz="1200" dirty="0" smtClean="0"/>
          </a:p>
        </p:txBody>
      </p:sp>
      <p:sp>
        <p:nvSpPr>
          <p:cNvPr id="50" name="云形标注 49"/>
          <p:cNvSpPr/>
          <p:nvPr/>
        </p:nvSpPr>
        <p:spPr>
          <a:xfrm>
            <a:off x="5022727" y="1949635"/>
            <a:ext cx="1464616" cy="423746"/>
          </a:xfrm>
          <a:prstGeom prst="cloudCallout">
            <a:avLst>
              <a:gd name="adj1" fmla="val -39857"/>
              <a:gd name="adj2" fmla="val 124155"/>
            </a:avLst>
          </a:prstGeom>
          <a:solidFill>
            <a:srgbClr val="EAA427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>
                <a:solidFill>
                  <a:schemeClr val="bg1"/>
                </a:solidFill>
              </a:rPr>
              <a:t>Champion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1" name="云形标注 50"/>
          <p:cNvSpPr/>
          <p:nvPr/>
        </p:nvSpPr>
        <p:spPr>
          <a:xfrm>
            <a:off x="3130946" y="4336556"/>
            <a:ext cx="1200150" cy="531457"/>
          </a:xfrm>
          <a:prstGeom prst="cloudCallout">
            <a:avLst>
              <a:gd name="adj1" fmla="val 39953"/>
              <a:gd name="adj2" fmla="val 66240"/>
            </a:avLst>
          </a:prstGeom>
          <a:solidFill>
            <a:srgbClr val="A90F2C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altLang="zh-CN" sz="1200" dirty="0" smtClean="0"/>
              <a:t>Third Place</a:t>
            </a:r>
            <a:endParaRPr lang="zh-CN" alt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257584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6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711506" y="5304314"/>
            <a:ext cx="7950468" cy="658608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7" name="Rectangle 18">
            <a:extLst>
              <a:ext uri="{FF2B5EF4-FFF2-40B4-BE49-F238E27FC236}">
                <a16:creationId xmlns:a16="http://schemas.microsoft.com/office/drawing/2014/main" id="{0FCE0980-07AA-4BEC-ADF5-5977C4E20088}"/>
              </a:ext>
            </a:extLst>
          </p:cNvPr>
          <p:cNvSpPr/>
          <p:nvPr/>
        </p:nvSpPr>
        <p:spPr>
          <a:xfrm>
            <a:off x="736333" y="1518570"/>
            <a:ext cx="7950468" cy="3127545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6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Other Group Tria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Everything worthwhile takes time and commitment.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456593" y="2369566"/>
            <a:ext cx="2737775" cy="499248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Crawler of “Arena of Valor”</a:t>
            </a:r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>
                <a:solidFill>
                  <a:schemeClr val="tx1"/>
                </a:solidFill>
              </a:rPr>
              <a:t>Team Analysis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14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082715" y="5480383"/>
            <a:ext cx="7587203" cy="42550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dirty="0">
                <a:solidFill>
                  <a:prstClr val="black"/>
                </a:solidFill>
              </a:rPr>
              <a:t>It is our great pleasure to have met Professor He </a:t>
            </a:r>
            <a:r>
              <a:rPr lang="en-US" altLang="zh-CN" sz="1400" dirty="0" err="1">
                <a:solidFill>
                  <a:prstClr val="black"/>
                </a:solidFill>
              </a:rPr>
              <a:t>Jibo</a:t>
            </a:r>
            <a:r>
              <a:rPr lang="en-US" altLang="zh-CN" sz="1400" dirty="0">
                <a:solidFill>
                  <a:prstClr val="black"/>
                </a:solidFill>
              </a:rPr>
              <a:t> and all of you here @PKU!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21" y="5409677"/>
            <a:ext cx="552509" cy="552509"/>
          </a:xfrm>
          <a:prstGeom prst="rect">
            <a:avLst/>
          </a:prstGeom>
        </p:spPr>
      </p:pic>
      <p:sp>
        <p:nvSpPr>
          <p:cNvPr id="17" name="Textplatzhalter 2"/>
          <p:cNvSpPr txBox="1">
            <a:spLocks/>
          </p:cNvSpPr>
          <p:nvPr/>
        </p:nvSpPr>
        <p:spPr>
          <a:xfrm>
            <a:off x="3194368" y="2369566"/>
            <a:ext cx="2737775" cy="49924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Machine learning based on weather data crawler</a:t>
            </a:r>
          </a:p>
        </p:txBody>
      </p:sp>
      <p:sp>
        <p:nvSpPr>
          <p:cNvPr id="18" name="Textplatzhalter 2"/>
          <p:cNvSpPr txBox="1">
            <a:spLocks/>
          </p:cNvSpPr>
          <p:nvPr/>
        </p:nvSpPr>
        <p:spPr>
          <a:xfrm>
            <a:off x="5932143" y="2369566"/>
            <a:ext cx="2737775" cy="499248"/>
          </a:xfrm>
          <a:prstGeom prst="rect">
            <a:avLst/>
          </a:prstGeom>
          <a:solidFill>
            <a:srgbClr val="E9A327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Beijing travel ticket prices (Succeeded)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rgbClr val="A90F2C"/>
                </a:solidFill>
              </a:rPr>
              <a:t>Group Brainstorm of Several Topics to Try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>
          <a:xfrm>
            <a:off x="464433" y="1956533"/>
            <a:ext cx="8215134" cy="298754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rgbClr val="002060"/>
                </a:solidFill>
              </a:rPr>
              <a:t>We failed many times, finally arrived at this work…</a:t>
            </a:r>
          </a:p>
        </p:txBody>
      </p:sp>
      <p:pic>
        <p:nvPicPr>
          <p:cNvPr id="11266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88" y="3127691"/>
            <a:ext cx="2739379" cy="1826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378" y="3042644"/>
            <a:ext cx="2263908" cy="2263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4150" y="3290758"/>
            <a:ext cx="2872651" cy="1739165"/>
          </a:xfrm>
          <a:prstGeom prst="rect">
            <a:avLst/>
          </a:prstGeom>
        </p:spPr>
      </p:pic>
      <p:sp>
        <p:nvSpPr>
          <p:cNvPr id="24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</p:spTree>
    <p:extLst>
      <p:ext uri="{BB962C8B-B14F-4D97-AF65-F5344CB8AC3E}">
        <p14:creationId xmlns:p14="http://schemas.microsoft.com/office/powerpoint/2010/main" val="266594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8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Collection</a:t>
              </a: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7" name="Rectangle 18">
            <a:extLst>
              <a:ext uri="{FF2B5EF4-FFF2-40B4-BE49-F238E27FC236}">
                <a16:creationId xmlns:a16="http://schemas.microsoft.com/office/drawing/2014/main" id="{4F7EAFF9-FF40-491E-982C-421A5AE6D1C6}"/>
              </a:ext>
            </a:extLst>
          </p:cNvPr>
          <p:cNvSpPr/>
          <p:nvPr/>
        </p:nvSpPr>
        <p:spPr>
          <a:xfrm>
            <a:off x="869869" y="1567740"/>
            <a:ext cx="7950468" cy="3729685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20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29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Collection</a:t>
              </a: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b="1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</p:spTree>
    <p:extLst>
      <p:ext uri="{BB962C8B-B14F-4D97-AF65-F5344CB8AC3E}">
        <p14:creationId xmlns:p14="http://schemas.microsoft.com/office/powerpoint/2010/main" val="321290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trodu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A70F2B"/>
                </a:solidFill>
              </a:rPr>
              <a:t>Project </a:t>
            </a:r>
            <a:r>
              <a:rPr lang="en-US" altLang="zh-CN" dirty="0"/>
              <a:t>Goal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F2A4C81-A19A-4AA6-984B-A0B91BC04448}"/>
              </a:ext>
            </a:extLst>
          </p:cNvPr>
          <p:cNvSpPr/>
          <p:nvPr/>
        </p:nvSpPr>
        <p:spPr>
          <a:xfrm>
            <a:off x="769987" y="1779668"/>
            <a:ext cx="7901739" cy="836531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600" b="1" dirty="0">
                <a:solidFill>
                  <a:schemeClr val="tx1"/>
                </a:solidFill>
              </a:rPr>
              <a:t>Predict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2022 Qatar FIFA </a:t>
            </a:r>
            <a:r>
              <a:rPr lang="en-US" altLang="zh-CN" sz="1600" b="1" dirty="0">
                <a:solidFill>
                  <a:schemeClr val="tx1"/>
                </a:solidFill>
              </a:rPr>
              <a:t>World Cup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result. </a:t>
            </a:r>
            <a:r>
              <a:rPr lang="en-US" altLang="zh-CN" sz="1600" dirty="0" smtClean="0">
                <a:solidFill>
                  <a:schemeClr val="tx1"/>
                </a:solidFill>
              </a:rPr>
              <a:t>(Which team will likely to win in the Round 16, Quarter Finals, Semi-Finals, and Finals.)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sp>
        <p:nvSpPr>
          <p:cNvPr id="18" name="Rechteck 29">
            <a:extLst>
              <a:ext uri="{FF2B5EF4-FFF2-40B4-BE49-F238E27FC236}">
                <a16:creationId xmlns:a16="http://schemas.microsoft.com/office/drawing/2014/main" id="{39B95B08-3BCA-4EE6-979E-4D118007F89E}"/>
              </a:ext>
            </a:extLst>
          </p:cNvPr>
          <p:cNvSpPr/>
          <p:nvPr/>
        </p:nvSpPr>
        <p:spPr>
          <a:xfrm>
            <a:off x="457201" y="3465513"/>
            <a:ext cx="4141788" cy="207803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u="sng" dirty="0">
                <a:solidFill>
                  <a:schemeClr val="tx1"/>
                </a:solidFill>
              </a:rPr>
              <a:t>Possible Application</a:t>
            </a:r>
          </a:p>
          <a:p>
            <a:pPr marL="342900" indent="-342900">
              <a:lnSpc>
                <a:spcPct val="150000"/>
              </a:lnSpc>
              <a:buClr>
                <a:srgbClr val="002060"/>
              </a:buClr>
              <a:buFont typeface="+mj-lt"/>
              <a:buAutoNum type="arabicPeriod"/>
            </a:pPr>
            <a:r>
              <a:rPr lang="en-US" altLang="zh-CN" sz="1400" b="1" dirty="0" smtClean="0">
                <a:solidFill>
                  <a:schemeClr val="tx1"/>
                </a:solidFill>
              </a:rPr>
              <a:t>Bet based on calculated probability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Clr>
                <a:srgbClr val="002060"/>
              </a:buClr>
              <a:buFont typeface="+mj-lt"/>
              <a:buAutoNum type="arabicPeriod"/>
            </a:pPr>
            <a:r>
              <a:rPr lang="en-US" altLang="zh-CN" sz="1400" b="1" dirty="0" smtClean="0">
                <a:solidFill>
                  <a:schemeClr val="tx1"/>
                </a:solidFill>
              </a:rPr>
              <a:t>Show prediction ability to client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Clr>
                <a:srgbClr val="002060"/>
              </a:buClr>
              <a:buFont typeface="+mj-lt"/>
              <a:buAutoNum type="arabicPeriod"/>
            </a:pPr>
            <a:r>
              <a:rPr lang="en-US" altLang="zh-CN" sz="1400" b="1" dirty="0" smtClean="0">
                <a:solidFill>
                  <a:schemeClr val="tx1"/>
                </a:solidFill>
              </a:rPr>
              <a:t>Practice Python programming</a:t>
            </a:r>
            <a:endParaRPr lang="en-US" altLang="zh-CN" sz="1400" dirty="0">
              <a:solidFill>
                <a:schemeClr val="tx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7BFAF56-9284-4DC6-8E8A-909E43C1C7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53" y="1875991"/>
            <a:ext cx="313394" cy="313394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875068F-E99F-4F6D-A141-306049B1A3E5}"/>
              </a:ext>
            </a:extLst>
          </p:cNvPr>
          <p:cNvSpPr txBox="1"/>
          <p:nvPr/>
        </p:nvSpPr>
        <p:spPr>
          <a:xfrm>
            <a:off x="2357438" y="6356349"/>
            <a:ext cx="857250" cy="3571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zh-CN" altLang="en-US" dirty="0" err="1"/>
          </a:p>
        </p:txBody>
      </p:sp>
      <p:sp>
        <p:nvSpPr>
          <p:cNvPr id="11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2050" name="Picture 2" descr="http://www.gycfa.com/blog/wp-content/uploads/2018/07/Hedgeye-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838" y="3465512"/>
            <a:ext cx="3631663" cy="207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1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A70F2B"/>
                </a:solidFill>
              </a:rPr>
              <a:t>References</a:t>
            </a:r>
            <a:endParaRPr lang="en-US" dirty="0">
              <a:solidFill>
                <a:srgbClr val="A70F2B"/>
              </a:solidFill>
            </a:endParaRPr>
          </a:p>
          <a:p>
            <a:endParaRPr lang="en-US" dirty="0"/>
          </a:p>
        </p:txBody>
      </p: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2" name="矩形 1"/>
          <p:cNvSpPr/>
          <p:nvPr/>
        </p:nvSpPr>
        <p:spPr>
          <a:xfrm>
            <a:off x="457199" y="1928329"/>
            <a:ext cx="8229601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indent="-400050">
              <a:buAutoNum type="romanUcPeriod"/>
            </a:pPr>
            <a:r>
              <a:rPr lang="zh-CN" altLang="en-US" sz="1600" dirty="0" smtClean="0"/>
              <a:t>Goodfellow</a:t>
            </a:r>
            <a:r>
              <a:rPr lang="zh-CN" altLang="en-US" sz="1600" dirty="0"/>
              <a:t>, Y. Bengio, and A. Courville. Deep Learning. MIT Press, Cambridge, MA, 2016</a:t>
            </a:r>
            <a:r>
              <a:rPr lang="zh-CN" altLang="en-US" sz="1600" dirty="0" smtClean="0"/>
              <a:t>.</a:t>
            </a:r>
            <a:endParaRPr lang="en-US" altLang="zh-CN" sz="1600" dirty="0" smtClean="0"/>
          </a:p>
          <a:p>
            <a:pPr marL="400050" indent="-400050">
              <a:buAutoNum type="romanUcPeriod"/>
            </a:pPr>
            <a:endParaRPr lang="en-US" altLang="zh-CN" sz="1600" dirty="0" smtClean="0"/>
          </a:p>
          <a:p>
            <a:pPr marL="400050" indent="-400050">
              <a:buAutoNum type="romanUcPeriod"/>
            </a:pPr>
            <a:r>
              <a:rPr lang="zh-CN" altLang="en-US" sz="1600" dirty="0" smtClean="0"/>
              <a:t>H</a:t>
            </a:r>
            <a:r>
              <a:rPr lang="zh-CN" altLang="en-US" sz="1600" dirty="0"/>
              <a:t>. Mhaskar, Q. Liao, and T. A. Poggio. When and why are deep networks better thanshallow ones? In Proceedings of the 31st AAAI Conference on Artificial Intelligence,pages 2343{2349, San Francisco, CA, 2017</a:t>
            </a:r>
            <a:r>
              <a:rPr lang="zh-CN" altLang="en-US" sz="1600" dirty="0" smtClean="0"/>
              <a:t>.</a:t>
            </a:r>
            <a:endParaRPr lang="en-US" altLang="zh-CN" sz="1600" dirty="0" smtClean="0"/>
          </a:p>
          <a:p>
            <a:pPr marL="400050" indent="-400050">
              <a:buAutoNum type="romanUcPeriod"/>
            </a:pPr>
            <a:endParaRPr lang="en-US" altLang="zh-CN" sz="1600" dirty="0"/>
          </a:p>
          <a:p>
            <a:pPr marL="400050" indent="-400050">
              <a:buAutoNum type="romanUcPeriod"/>
            </a:pPr>
            <a:r>
              <a:rPr lang="en-US" altLang="zh-CN" sz="1600" dirty="0"/>
              <a:t>Zhou Z H, Feng J. Deep forest: Towards an alternative to deep neural networks[J]. </a:t>
            </a:r>
            <a:r>
              <a:rPr lang="en-US" altLang="zh-CN" sz="1600" dirty="0" err="1"/>
              <a:t>arXiv</a:t>
            </a:r>
            <a:r>
              <a:rPr lang="en-US" altLang="zh-CN" sz="1600" dirty="0"/>
              <a:t> preprint arXiv:1702.08835, 2017</a:t>
            </a:r>
            <a:r>
              <a:rPr lang="en-US" altLang="zh-CN" sz="1600" dirty="0" smtClean="0"/>
              <a:t>.</a:t>
            </a:r>
          </a:p>
          <a:p>
            <a:pPr marL="400050" indent="-400050">
              <a:buAutoNum type="romanUcPeriod"/>
            </a:pPr>
            <a:endParaRPr lang="en-US" altLang="zh-CN" sz="1600" dirty="0"/>
          </a:p>
          <a:p>
            <a:pPr marL="400050" indent="-400050">
              <a:buAutoNum type="romanUcPeriod"/>
            </a:pPr>
            <a:r>
              <a:rPr lang="en-US" altLang="zh-CN" sz="1600" dirty="0"/>
              <a:t>D. L. Richmond, D. </a:t>
            </a:r>
            <a:r>
              <a:rPr lang="en-US" altLang="zh-CN" sz="1600" dirty="0" err="1"/>
              <a:t>Kainmueller</a:t>
            </a:r>
            <a:r>
              <a:rPr lang="en-US" altLang="zh-CN" sz="1600" dirty="0"/>
              <a:t>, M. Y. Yang, E. W. Myers, and C. </a:t>
            </a:r>
            <a:r>
              <a:rPr lang="en-US" altLang="zh-CN" sz="1600" dirty="0" err="1"/>
              <a:t>Rother</a:t>
            </a:r>
            <a:r>
              <a:rPr lang="en-US" altLang="zh-CN" sz="1600" dirty="0" smtClean="0"/>
              <a:t>. Relating </a:t>
            </a:r>
            <a:r>
              <a:rPr lang="en-US" altLang="zh-CN" sz="1600" dirty="0"/>
              <a:t>cascaded random forests to deep convolutional neural networks for </a:t>
            </a:r>
            <a:r>
              <a:rPr lang="en-US" altLang="zh-CN" sz="1600" dirty="0" smtClean="0"/>
              <a:t>semantic segmentation</a:t>
            </a:r>
            <a:r>
              <a:rPr lang="en-US" altLang="zh-CN" sz="1600" dirty="0"/>
              <a:t>. arXiv:1507.07583, 2015. 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36816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 smtClean="0"/>
              <a:t>Scan QR code to get our Python code on GitHub!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8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90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dingdi\桌面\图片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48655"/>
            <a:ext cx="9144000" cy="310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矩形 4"/>
          <p:cNvSpPr/>
          <p:nvPr/>
        </p:nvSpPr>
        <p:spPr>
          <a:xfrm>
            <a:off x="0" y="2700444"/>
            <a:ext cx="9144000" cy="896838"/>
          </a:xfrm>
          <a:prstGeom prst="rect">
            <a:avLst/>
          </a:prstGeom>
          <a:solidFill>
            <a:srgbClr val="A70F2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zh-CN" altLang="en-US" dirty="0" err="1">
              <a:latin typeface="+mj-lt"/>
            </a:endParaRPr>
          </a:p>
        </p:txBody>
      </p:sp>
      <p:sp>
        <p:nvSpPr>
          <p:cNvPr id="35" name="矩形 5"/>
          <p:cNvSpPr/>
          <p:nvPr/>
        </p:nvSpPr>
        <p:spPr>
          <a:xfrm>
            <a:off x="0" y="3665095"/>
            <a:ext cx="9144000" cy="83560"/>
          </a:xfrm>
          <a:prstGeom prst="rect">
            <a:avLst/>
          </a:prstGeom>
          <a:solidFill>
            <a:srgbClr val="A70F2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zh-CN" altLang="en-US" dirty="0" err="1"/>
          </a:p>
        </p:txBody>
      </p:sp>
      <p:grpSp>
        <p:nvGrpSpPr>
          <p:cNvPr id="63" name="Group 62"/>
          <p:cNvGrpSpPr/>
          <p:nvPr/>
        </p:nvGrpSpPr>
        <p:grpSpPr>
          <a:xfrm>
            <a:off x="5726242" y="350736"/>
            <a:ext cx="3336241" cy="1777868"/>
            <a:chOff x="6297613" y="358775"/>
            <a:chExt cx="3744912" cy="2160588"/>
          </a:xfrm>
        </p:grpSpPr>
        <p:sp>
          <p:nvSpPr>
            <p:cNvPr id="36" name="矩形 6"/>
            <p:cNvSpPr/>
            <p:nvPr/>
          </p:nvSpPr>
          <p:spPr>
            <a:xfrm>
              <a:off x="7807325" y="1803400"/>
              <a:ext cx="347663" cy="347663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7" name="矩形 7"/>
            <p:cNvSpPr/>
            <p:nvPr/>
          </p:nvSpPr>
          <p:spPr>
            <a:xfrm>
              <a:off x="8561388" y="1438275"/>
              <a:ext cx="349250" cy="349250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8" name="矩形 8"/>
            <p:cNvSpPr/>
            <p:nvPr/>
          </p:nvSpPr>
          <p:spPr>
            <a:xfrm>
              <a:off x="8183563" y="1068388"/>
              <a:ext cx="349250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39" name="矩形 9"/>
            <p:cNvSpPr/>
            <p:nvPr/>
          </p:nvSpPr>
          <p:spPr>
            <a:xfrm>
              <a:off x="7051675" y="1438275"/>
              <a:ext cx="349250" cy="349250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0" name="矩形 10"/>
            <p:cNvSpPr/>
            <p:nvPr/>
          </p:nvSpPr>
          <p:spPr>
            <a:xfrm>
              <a:off x="8561388" y="1068388"/>
              <a:ext cx="349250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1" name="矩形 11"/>
            <p:cNvSpPr/>
            <p:nvPr/>
          </p:nvSpPr>
          <p:spPr>
            <a:xfrm>
              <a:off x="8939213" y="709613"/>
              <a:ext cx="347662" cy="347662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2" name="矩形 12"/>
            <p:cNvSpPr/>
            <p:nvPr/>
          </p:nvSpPr>
          <p:spPr>
            <a:xfrm>
              <a:off x="8939213" y="358775"/>
              <a:ext cx="347662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3" name="矩形 13"/>
            <p:cNvSpPr/>
            <p:nvPr/>
          </p:nvSpPr>
          <p:spPr>
            <a:xfrm>
              <a:off x="9315450" y="1068388"/>
              <a:ext cx="349250" cy="347662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4" name="矩形 14"/>
            <p:cNvSpPr/>
            <p:nvPr/>
          </p:nvSpPr>
          <p:spPr>
            <a:xfrm>
              <a:off x="8939213" y="1438275"/>
              <a:ext cx="347662" cy="349250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5" name="矩形 15"/>
            <p:cNvSpPr/>
            <p:nvPr/>
          </p:nvSpPr>
          <p:spPr>
            <a:xfrm>
              <a:off x="8561388" y="1803400"/>
              <a:ext cx="349250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6" name="矩形 16"/>
            <p:cNvSpPr/>
            <p:nvPr/>
          </p:nvSpPr>
          <p:spPr>
            <a:xfrm>
              <a:off x="9315450" y="1803400"/>
              <a:ext cx="349250" cy="347663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7" name="矩形 17"/>
            <p:cNvSpPr/>
            <p:nvPr/>
          </p:nvSpPr>
          <p:spPr>
            <a:xfrm>
              <a:off x="7807325" y="1068388"/>
              <a:ext cx="347663" cy="347662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8" name="矩形 18"/>
            <p:cNvSpPr/>
            <p:nvPr/>
          </p:nvSpPr>
          <p:spPr>
            <a:xfrm>
              <a:off x="8183563" y="1438275"/>
              <a:ext cx="349250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49" name="矩形 19"/>
            <p:cNvSpPr/>
            <p:nvPr/>
          </p:nvSpPr>
          <p:spPr>
            <a:xfrm>
              <a:off x="8183563" y="2170113"/>
              <a:ext cx="349250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0" name="矩形 20"/>
            <p:cNvSpPr/>
            <p:nvPr/>
          </p:nvSpPr>
          <p:spPr>
            <a:xfrm>
              <a:off x="7807325" y="1438275"/>
              <a:ext cx="347663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1" name="矩形 21"/>
            <p:cNvSpPr/>
            <p:nvPr/>
          </p:nvSpPr>
          <p:spPr>
            <a:xfrm>
              <a:off x="8183563" y="709613"/>
              <a:ext cx="349250" cy="347662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2" name="矩形 22"/>
            <p:cNvSpPr/>
            <p:nvPr/>
          </p:nvSpPr>
          <p:spPr>
            <a:xfrm>
              <a:off x="7051675" y="1068388"/>
              <a:ext cx="349250" cy="347662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3" name="矩形 23"/>
            <p:cNvSpPr/>
            <p:nvPr/>
          </p:nvSpPr>
          <p:spPr>
            <a:xfrm>
              <a:off x="6675438" y="1438275"/>
              <a:ext cx="347662" cy="349250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4" name="矩形 24"/>
            <p:cNvSpPr/>
            <p:nvPr/>
          </p:nvSpPr>
          <p:spPr>
            <a:xfrm>
              <a:off x="9315450" y="358775"/>
              <a:ext cx="349250" cy="347663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5" name="矩形 25"/>
            <p:cNvSpPr/>
            <p:nvPr/>
          </p:nvSpPr>
          <p:spPr>
            <a:xfrm>
              <a:off x="9693275" y="358775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6" name="矩形 26"/>
            <p:cNvSpPr/>
            <p:nvPr/>
          </p:nvSpPr>
          <p:spPr>
            <a:xfrm>
              <a:off x="9693275" y="1068388"/>
              <a:ext cx="349250" cy="347662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7" name="矩形 27"/>
            <p:cNvSpPr/>
            <p:nvPr/>
          </p:nvSpPr>
          <p:spPr>
            <a:xfrm>
              <a:off x="8939213" y="1068388"/>
              <a:ext cx="347662" cy="347662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8" name="矩形 28"/>
            <p:cNvSpPr/>
            <p:nvPr/>
          </p:nvSpPr>
          <p:spPr>
            <a:xfrm>
              <a:off x="8183563" y="1803400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59" name="矩形 29"/>
            <p:cNvSpPr/>
            <p:nvPr/>
          </p:nvSpPr>
          <p:spPr>
            <a:xfrm>
              <a:off x="7429500" y="1438275"/>
              <a:ext cx="349250" cy="349250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  <p:sp>
          <p:nvSpPr>
            <p:cNvPr id="60" name="矩形 30"/>
            <p:cNvSpPr/>
            <p:nvPr/>
          </p:nvSpPr>
          <p:spPr>
            <a:xfrm>
              <a:off x="6297613" y="1803400"/>
              <a:ext cx="349250" cy="347663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dirty="0" err="1"/>
            </a:p>
          </p:txBody>
        </p:sp>
      </p:grpSp>
      <p:sp>
        <p:nvSpPr>
          <p:cNvPr id="61" name="customnam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2700444"/>
            <a:ext cx="9144000" cy="89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6" tIns="45698" rIns="91396" bIns="45698" anchor="ctr"/>
          <a:lstStyle>
            <a:lvl1pPr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1pPr>
            <a:lvl2pPr marL="742950" indent="-28575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2pPr>
            <a:lvl3pPr marL="11430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3pPr>
            <a:lvl4pPr marL="16002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4pPr>
            <a:lvl5pPr marL="2057400" indent="-228600" defTabSz="1017588" eaLnBrk="0" hangingPunct="0"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5pPr>
            <a:lvl6pPr marL="25146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6pPr>
            <a:lvl7pPr marL="29718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7pPr>
            <a:lvl8pPr marL="34290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8pPr>
            <a:lvl9pPr marL="3886200" indent="-228600" algn="ctr" defTabSz="101758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楷体_GB2312" pitchFamily="49" charset="-122"/>
              </a:defRPr>
            </a:lvl9pPr>
          </a:lstStyle>
          <a:p>
            <a:pPr algn="ctr" eaLnBrk="1" hangingPunct="1"/>
            <a:r>
              <a:rPr lang="en-US" altLang="zh-CN" sz="2400" b="1" dirty="0">
                <a:solidFill>
                  <a:srgbClr val="FFFFFF"/>
                </a:solidFill>
                <a:latin typeface="+mj-lt"/>
                <a:ea typeface="+mj-ea"/>
                <a:cs typeface="Calibri" panose="020F0502020204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158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Collection &amp;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7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sz="1000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96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Work 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5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699968" y="2198352"/>
            <a:ext cx="7950468" cy="3764576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47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Existing 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Investment Banks Really Like to Predict World Cups (2018)…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Goldman Sachs Global Investment Research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36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oldman Sachs</a:t>
            </a:r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98"/>
          <a:stretch/>
        </p:blipFill>
        <p:spPr>
          <a:xfrm>
            <a:off x="456592" y="1957000"/>
            <a:ext cx="8215135" cy="2672164"/>
          </a:xfrm>
          <a:prstGeom prst="rect">
            <a:avLst/>
          </a:prstGeom>
        </p:spPr>
      </p:pic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19" name="Rechteck 29">
            <a:extLst>
              <a:ext uri="{FF2B5EF4-FFF2-40B4-BE49-F238E27FC236}">
                <a16:creationId xmlns:a16="http://schemas.microsoft.com/office/drawing/2014/main" id="{E32F0813-3EA5-46A5-9072-0116530345D2}"/>
              </a:ext>
            </a:extLst>
          </p:cNvPr>
          <p:cNvSpPr/>
          <p:nvPr/>
        </p:nvSpPr>
        <p:spPr>
          <a:xfrm>
            <a:off x="1002722" y="4579501"/>
            <a:ext cx="7669001" cy="14004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chemeClr val="tx1"/>
                </a:solidFill>
              </a:rPr>
              <a:t>Key Conclusion: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Brazil win the world cup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Russia cannot stand out from group stage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Germany will be in the final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403" y="4579502"/>
            <a:ext cx="552509" cy="552509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456593" y="2208069"/>
            <a:ext cx="1013721" cy="42083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4027601" y="3093056"/>
            <a:ext cx="1013721" cy="42083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23" name="线形标注 1 22"/>
          <p:cNvSpPr/>
          <p:nvPr/>
        </p:nvSpPr>
        <p:spPr>
          <a:xfrm>
            <a:off x="6336267" y="5091546"/>
            <a:ext cx="942565" cy="480826"/>
          </a:xfrm>
          <a:prstGeom prst="borderCallout1">
            <a:avLst>
              <a:gd name="adj1" fmla="val 26314"/>
              <a:gd name="adj2" fmla="val -25207"/>
              <a:gd name="adj3" fmla="val 30505"/>
              <a:gd name="adj4" fmla="val -96678"/>
            </a:avLst>
          </a:prstGeom>
          <a:solidFill>
            <a:srgbClr val="A70F2B"/>
          </a:solidFill>
          <a:ln w="19050">
            <a:solidFill>
              <a:srgbClr val="A90F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600" b="1" dirty="0"/>
              <a:t>Wrong!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20971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Existing 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Investment Banks Really Like to Predict World Cups (2018)…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0" name="Rechteck 34">
            <a:extLst>
              <a:ext uri="{FF2B5EF4-FFF2-40B4-BE49-F238E27FC236}">
                <a16:creationId xmlns:a16="http://schemas.microsoft.com/office/drawing/2014/main" id="{9632233C-6BB8-4933-852F-26C1E2E49495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 smtClean="0">
                <a:solidFill>
                  <a:schemeClr val="tx1"/>
                </a:solidFill>
              </a:rPr>
              <a:t>UBS Global </a:t>
            </a:r>
            <a:r>
              <a:rPr lang="en-US" altLang="zh-CN" sz="1000" dirty="0">
                <a:solidFill>
                  <a:schemeClr val="tx1"/>
                </a:solidFill>
              </a:rPr>
              <a:t>Investment Research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36" name="Textplatzhalter 2"/>
          <p:cNvSpPr txBox="1">
            <a:spLocks/>
          </p:cNvSpPr>
          <p:nvPr/>
        </p:nvSpPr>
        <p:spPr>
          <a:xfrm>
            <a:off x="456593" y="1538309"/>
            <a:ext cx="8215134" cy="298754"/>
          </a:xfrm>
          <a:prstGeom prst="rect">
            <a:avLst/>
          </a:prstGeom>
          <a:solidFill>
            <a:srgbClr val="A70F2B"/>
          </a:solidFill>
          <a:ln>
            <a:noFill/>
          </a:ln>
        </p:spPr>
        <p:txBody>
          <a:bodyPr vert="horz" lIns="3600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Union Bank of Switzerland</a:t>
            </a:r>
          </a:p>
        </p:txBody>
      </p:sp>
      <p:sp>
        <p:nvSpPr>
          <p:cNvPr id="18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19" name="Rechteck 29">
            <a:extLst>
              <a:ext uri="{FF2B5EF4-FFF2-40B4-BE49-F238E27FC236}">
                <a16:creationId xmlns:a16="http://schemas.microsoft.com/office/drawing/2014/main" id="{E32F0813-3EA5-46A5-9072-0116530345D2}"/>
              </a:ext>
            </a:extLst>
          </p:cNvPr>
          <p:cNvSpPr/>
          <p:nvPr/>
        </p:nvSpPr>
        <p:spPr>
          <a:xfrm>
            <a:off x="5101936" y="2031424"/>
            <a:ext cx="3569787" cy="234108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chemeClr val="tx1"/>
                </a:solidFill>
              </a:rPr>
              <a:t>Key Conclusion: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Germany win the world cup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Brazil, Spain likely to be runner-up 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1400" b="1" dirty="0">
                <a:solidFill>
                  <a:schemeClr val="tx1"/>
                </a:solidFill>
              </a:rPr>
              <a:t>Croatia is not likely to stand out from group stage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336" y="2003593"/>
            <a:ext cx="552509" cy="552509"/>
          </a:xfrm>
          <a:prstGeom prst="rect">
            <a:avLst/>
          </a:prstGeom>
        </p:spPr>
      </p:pic>
      <p:sp>
        <p:nvSpPr>
          <p:cNvPr id="23" name="线形标注 1 22"/>
          <p:cNvSpPr/>
          <p:nvPr/>
        </p:nvSpPr>
        <p:spPr>
          <a:xfrm>
            <a:off x="6336267" y="5091546"/>
            <a:ext cx="942565" cy="480826"/>
          </a:xfrm>
          <a:prstGeom prst="borderCallout1">
            <a:avLst>
              <a:gd name="adj1" fmla="val -55806"/>
              <a:gd name="adj2" fmla="val 42591"/>
              <a:gd name="adj3" fmla="val -157507"/>
              <a:gd name="adj4" fmla="val 31201"/>
            </a:avLst>
          </a:prstGeom>
          <a:solidFill>
            <a:srgbClr val="A70F2B"/>
          </a:solidFill>
          <a:ln w="19050">
            <a:solidFill>
              <a:srgbClr val="A90F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600" b="1" dirty="0"/>
              <a:t>Wrong!</a:t>
            </a:r>
            <a:endParaRPr lang="zh-CN" altLang="en-US" sz="1600" b="1" dirty="0"/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92" y="1837062"/>
            <a:ext cx="3585471" cy="4366701"/>
          </a:xfrm>
          <a:prstGeom prst="rect">
            <a:avLst/>
          </a:prstGeom>
        </p:spPr>
      </p:pic>
      <p:sp>
        <p:nvSpPr>
          <p:cNvPr id="15" name="矩形 14"/>
          <p:cNvSpPr/>
          <p:nvPr/>
        </p:nvSpPr>
        <p:spPr>
          <a:xfrm>
            <a:off x="456592" y="2197679"/>
            <a:ext cx="3585472" cy="375833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447938" y="4826577"/>
            <a:ext cx="3585472" cy="14377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6591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Existing Work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 But They Basically Get It Wrong</a:t>
            </a:r>
            <a:endParaRPr lang="en-US" dirty="0">
              <a:solidFill>
                <a:srgbClr val="A70F2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F58570F-8EBC-41F5-B1F7-134E83EBEFA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" name="Rechteck 34">
            <a:extLst>
              <a:ext uri="{FF2B5EF4-FFF2-40B4-BE49-F238E27FC236}">
                <a16:creationId xmlns:a16="http://schemas.microsoft.com/office/drawing/2014/main" id="{83D98AA3-6FD9-4744-8FCE-4F62A4CB8CC7}"/>
              </a:ext>
            </a:extLst>
          </p:cNvPr>
          <p:cNvSpPr/>
          <p:nvPr/>
        </p:nvSpPr>
        <p:spPr>
          <a:xfrm>
            <a:off x="2864932" y="6291411"/>
            <a:ext cx="3707318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zh-CN" sz="1000" dirty="0">
                <a:solidFill>
                  <a:schemeClr val="tx1"/>
                </a:solidFill>
              </a:rPr>
              <a:t>Team Analysis</a:t>
            </a:r>
            <a:endParaRPr lang="en-GB" altLang="zh-CN" sz="1000" dirty="0">
              <a:solidFill>
                <a:schemeClr val="tx1"/>
              </a:solidFill>
            </a:endParaRPr>
          </a:p>
        </p:txBody>
      </p:sp>
      <p:sp>
        <p:nvSpPr>
          <p:cNvPr id="9" name="Rechteck 29">
            <a:extLst>
              <a:ext uri="{FF2B5EF4-FFF2-40B4-BE49-F238E27FC236}">
                <a16:creationId xmlns:a16="http://schemas.microsoft.com/office/drawing/2014/main" id="{E12B4FB7-7197-4B30-BE09-602E62B59B32}"/>
              </a:ext>
            </a:extLst>
          </p:cNvPr>
          <p:cNvSpPr/>
          <p:nvPr/>
        </p:nvSpPr>
        <p:spPr>
          <a:xfrm>
            <a:off x="1084521" y="4795399"/>
            <a:ext cx="7587203" cy="4408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>
              <a:lnSpc>
                <a:spcPct val="150000"/>
              </a:lnSpc>
              <a:buClr>
                <a:srgbClr val="002060"/>
              </a:buClr>
            </a:pPr>
            <a:r>
              <a:rPr lang="en-US" altLang="zh-CN" sz="1400" b="1" dirty="0">
                <a:solidFill>
                  <a:prstClr val="black"/>
                </a:solidFill>
              </a:rPr>
              <a:t>NOTE:</a:t>
            </a:r>
            <a:r>
              <a:rPr lang="zh-CN" altLang="en-US" sz="1400" b="1" dirty="0">
                <a:solidFill>
                  <a:prstClr val="black"/>
                </a:solidFill>
              </a:rPr>
              <a:t> </a:t>
            </a:r>
            <a:r>
              <a:rPr lang="en-US" altLang="zh-CN" sz="1400" dirty="0">
                <a:solidFill>
                  <a:prstClr val="black"/>
                </a:solidFill>
              </a:rPr>
              <a:t>Don’t believe in investment bank’s analysis; </a:t>
            </a:r>
            <a:r>
              <a:rPr lang="en-US" altLang="zh-CN" sz="1400" b="1" dirty="0">
                <a:solidFill>
                  <a:prstClr val="black"/>
                </a:solidFill>
              </a:rPr>
              <a:t>Believe in data and Python!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99B80C0B-969A-4EFB-9CCB-A7D9FB318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21" y="4593989"/>
            <a:ext cx="552509" cy="552509"/>
          </a:xfrm>
          <a:prstGeom prst="rect">
            <a:avLst/>
          </a:prstGeom>
        </p:spPr>
      </p:pic>
      <p:sp>
        <p:nvSpPr>
          <p:cNvPr id="12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22" y="1719848"/>
            <a:ext cx="3545387" cy="2447460"/>
          </a:xfrm>
          <a:prstGeom prst="rect">
            <a:avLst/>
          </a:prstGeom>
        </p:spPr>
      </p:pic>
      <p:pic>
        <p:nvPicPr>
          <p:cNvPr id="8" name="图片 7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277" y="1657477"/>
            <a:ext cx="4621628" cy="250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A70F2B"/>
                </a:solidFill>
              </a:rPr>
              <a:t>Contents</a:t>
            </a:r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32000" y="1694430"/>
            <a:ext cx="6480000" cy="400111"/>
            <a:chOff x="1788452" y="1654746"/>
            <a:chExt cx="6480000" cy="400111"/>
          </a:xfrm>
        </p:grpSpPr>
        <p:sp>
          <p:nvSpPr>
            <p:cNvPr id="7" name="TextBox 2"/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10" name="直接连接符 4"/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7"/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Existing Work</a:t>
              </a:r>
            </a:p>
          </p:txBody>
        </p:sp>
      </p:grpSp>
      <p:sp>
        <p:nvSpPr>
          <p:cNvPr id="32" name="Rechteck 34"/>
          <p:cNvSpPr/>
          <p:nvPr/>
        </p:nvSpPr>
        <p:spPr>
          <a:xfrm>
            <a:off x="2388064" y="6291618"/>
            <a:ext cx="4597352" cy="368489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000" dirty="0">
                <a:solidFill>
                  <a:schemeClr val="tx1"/>
                </a:solidFill>
              </a:rPr>
              <a:t>Source: </a:t>
            </a:r>
            <a:endParaRPr lang="en-GB" sz="1000" i="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06316" y="6356349"/>
            <a:ext cx="664143" cy="232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AB24033-94D5-4D09-BFF7-6CBD2AEE3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1956" y="6356350"/>
            <a:ext cx="483394" cy="365125"/>
          </a:xfrm>
        </p:spPr>
        <p:txBody>
          <a:bodyPr/>
          <a:lstStyle/>
          <a:p>
            <a:fld id="{6F58570F-8EBC-41F5-B1F7-134E83EBEFA6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8762A9A0-1501-4F32-8010-010FE1EA387B}"/>
              </a:ext>
            </a:extLst>
          </p:cNvPr>
          <p:cNvGrpSpPr/>
          <p:nvPr/>
        </p:nvGrpSpPr>
        <p:grpSpPr>
          <a:xfrm>
            <a:off x="1332000" y="2309287"/>
            <a:ext cx="6480000" cy="400111"/>
            <a:chOff x="1788452" y="1654746"/>
            <a:chExt cx="6480000" cy="400111"/>
          </a:xfrm>
        </p:grpSpPr>
        <p:sp>
          <p:nvSpPr>
            <p:cNvPr id="27" name="TextBox 2">
              <a:extLst>
                <a:ext uri="{FF2B5EF4-FFF2-40B4-BE49-F238E27FC236}">
                  <a16:creationId xmlns:a16="http://schemas.microsoft.com/office/drawing/2014/main" id="{7495B6BC-908F-478D-B0C5-EC4BFF5CA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3" name="直接连接符 4">
              <a:extLst>
                <a:ext uri="{FF2B5EF4-FFF2-40B4-BE49-F238E27FC236}">
                  <a16:creationId xmlns:a16="http://schemas.microsoft.com/office/drawing/2014/main" id="{3F8C3625-7D89-43D1-BD8D-7428A79606A9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F66D94F8-C003-4EB8-B3E5-88E6CDB754FC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</a:t>
              </a:r>
              <a:r>
                <a:rPr lang="en-US" altLang="zh-CN" dirty="0" smtClean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Collection &amp; Visualization</a:t>
              </a:r>
              <a:endParaRPr lang="en-US" altLang="zh-CN" dirty="0">
                <a:solidFill>
                  <a:srgbClr val="A70F2B"/>
                </a:solidFill>
                <a:ea typeface="楷体_GB2312" pitchFamily="49" charset="-122"/>
                <a:cs typeface="Tahoma" pitchFamily="34" charset="0"/>
                <a:sym typeface="+mn-ea"/>
              </a:endParaRPr>
            </a:p>
          </p:txBody>
        </p:sp>
      </p:grpSp>
      <p:grpSp>
        <p:nvGrpSpPr>
          <p:cNvPr id="37" name="Group 18">
            <a:extLst>
              <a:ext uri="{FF2B5EF4-FFF2-40B4-BE49-F238E27FC236}">
                <a16:creationId xmlns:a16="http://schemas.microsoft.com/office/drawing/2014/main" id="{567ECBA3-F8BB-479D-8699-539AB3199D52}"/>
              </a:ext>
            </a:extLst>
          </p:cNvPr>
          <p:cNvGrpSpPr/>
          <p:nvPr/>
        </p:nvGrpSpPr>
        <p:grpSpPr>
          <a:xfrm>
            <a:off x="1332000" y="2915240"/>
            <a:ext cx="6480000" cy="400111"/>
            <a:chOff x="1788452" y="1654746"/>
            <a:chExt cx="6480000" cy="400111"/>
          </a:xfrm>
        </p:grpSpPr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612CCE36-D34E-4321-B056-FE07C0EC69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39" name="直接连接符 4">
              <a:extLst>
                <a:ext uri="{FF2B5EF4-FFF2-40B4-BE49-F238E27FC236}">
                  <a16:creationId xmlns:a16="http://schemas.microsoft.com/office/drawing/2014/main" id="{2178582A-BA7B-48BE-8EDB-45A4D75F0282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7">
              <a:extLst>
                <a:ext uri="{FF2B5EF4-FFF2-40B4-BE49-F238E27FC236}">
                  <a16:creationId xmlns:a16="http://schemas.microsoft.com/office/drawing/2014/main" id="{AE60759A-EC55-417A-A4A0-D4104BD20AC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Data Preprocessing (Feature Engineering)</a:t>
              </a:r>
            </a:p>
          </p:txBody>
        </p:sp>
      </p:grpSp>
      <p:grpSp>
        <p:nvGrpSpPr>
          <p:cNvPr id="41" name="Group 18">
            <a:extLst>
              <a:ext uri="{FF2B5EF4-FFF2-40B4-BE49-F238E27FC236}">
                <a16:creationId xmlns:a16="http://schemas.microsoft.com/office/drawing/2014/main" id="{4A4FBDB9-CB07-4ACB-B488-AAD7833A5581}"/>
              </a:ext>
            </a:extLst>
          </p:cNvPr>
          <p:cNvGrpSpPr/>
          <p:nvPr/>
        </p:nvGrpSpPr>
        <p:grpSpPr>
          <a:xfrm>
            <a:off x="1332000" y="3542616"/>
            <a:ext cx="6480000" cy="400111"/>
            <a:chOff x="1788452" y="1654746"/>
            <a:chExt cx="6480000" cy="400111"/>
          </a:xfrm>
        </p:grpSpPr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F5044A30-3CB1-434D-8117-035D7CCE9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3" name="直接连接符 4">
              <a:extLst>
                <a:ext uri="{FF2B5EF4-FFF2-40B4-BE49-F238E27FC236}">
                  <a16:creationId xmlns:a16="http://schemas.microsoft.com/office/drawing/2014/main" id="{76A85628-374C-4C8C-BCD4-47DF6AA6E2D8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7">
              <a:extLst>
                <a:ext uri="{FF2B5EF4-FFF2-40B4-BE49-F238E27FC236}">
                  <a16:creationId xmlns:a16="http://schemas.microsoft.com/office/drawing/2014/main" id="{8443CC22-5E56-4BB1-9727-1FD604897366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ur Proposal: Machine Learning Method</a:t>
              </a:r>
            </a:p>
          </p:txBody>
        </p:sp>
      </p:grpSp>
      <p:grpSp>
        <p:nvGrpSpPr>
          <p:cNvPr id="45" name="Group 18">
            <a:extLst>
              <a:ext uri="{FF2B5EF4-FFF2-40B4-BE49-F238E27FC236}">
                <a16:creationId xmlns:a16="http://schemas.microsoft.com/office/drawing/2014/main" id="{2B01A0D0-417A-4F71-98BD-8646DFA7DD51}"/>
              </a:ext>
            </a:extLst>
          </p:cNvPr>
          <p:cNvGrpSpPr/>
          <p:nvPr/>
        </p:nvGrpSpPr>
        <p:grpSpPr>
          <a:xfrm>
            <a:off x="1332000" y="4165697"/>
            <a:ext cx="6480000" cy="400111"/>
            <a:chOff x="1788452" y="1654746"/>
            <a:chExt cx="6480000" cy="400111"/>
          </a:xfrm>
        </p:grpSpPr>
        <p:sp>
          <p:nvSpPr>
            <p:cNvPr id="46" name="TextBox 2">
              <a:extLst>
                <a:ext uri="{FF2B5EF4-FFF2-40B4-BE49-F238E27FC236}">
                  <a16:creationId xmlns:a16="http://schemas.microsoft.com/office/drawing/2014/main" id="{2E971D8F-AB89-4165-9AE3-9E40670D1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47" name="直接连接符 4">
              <a:extLst>
                <a:ext uri="{FF2B5EF4-FFF2-40B4-BE49-F238E27FC236}">
                  <a16:creationId xmlns:a16="http://schemas.microsoft.com/office/drawing/2014/main" id="{8C54ABF6-D40D-4CD1-B567-0BCD86DC6D34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7">
              <a:extLst>
                <a:ext uri="{FF2B5EF4-FFF2-40B4-BE49-F238E27FC236}">
                  <a16:creationId xmlns:a16="http://schemas.microsoft.com/office/drawing/2014/main" id="{D538F531-685D-4A8D-9F67-58DA4FEC6F84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Result Graph Presentation</a:t>
              </a:r>
            </a:p>
          </p:txBody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193037D-AF64-46EC-A46E-32E61AFDA773}"/>
              </a:ext>
            </a:extLst>
          </p:cNvPr>
          <p:cNvGrpSpPr/>
          <p:nvPr/>
        </p:nvGrpSpPr>
        <p:grpSpPr>
          <a:xfrm>
            <a:off x="1332000" y="4775159"/>
            <a:ext cx="6480000" cy="400111"/>
            <a:chOff x="1788452" y="1654746"/>
            <a:chExt cx="6480000" cy="400111"/>
          </a:xfrm>
        </p:grpSpPr>
        <p:sp>
          <p:nvSpPr>
            <p:cNvPr id="50" name="TextBox 2">
              <a:extLst>
                <a:ext uri="{FF2B5EF4-FFF2-40B4-BE49-F238E27FC236}">
                  <a16:creationId xmlns:a16="http://schemas.microsoft.com/office/drawing/2014/main" id="{A34C6185-9701-4080-B745-6AE9A87BBF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1" name="直接连接符 4">
              <a:extLst>
                <a:ext uri="{FF2B5EF4-FFF2-40B4-BE49-F238E27FC236}">
                  <a16:creationId xmlns:a16="http://schemas.microsoft.com/office/drawing/2014/main" id="{E0CB6DAE-0C12-4D26-AA5B-D04BC1907C86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7">
              <a:extLst>
                <a:ext uri="{FF2B5EF4-FFF2-40B4-BE49-F238E27FC236}">
                  <a16:creationId xmlns:a16="http://schemas.microsoft.com/office/drawing/2014/main" id="{80029F40-E269-4AC1-9968-6168A31E6A9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Other Group Trials</a:t>
              </a:r>
            </a:p>
          </p:txBody>
        </p:sp>
      </p:grp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3D34FC-BFEF-460E-934D-66519AC44C68}"/>
              </a:ext>
            </a:extLst>
          </p:cNvPr>
          <p:cNvGrpSpPr/>
          <p:nvPr/>
        </p:nvGrpSpPr>
        <p:grpSpPr>
          <a:xfrm>
            <a:off x="1332000" y="5369042"/>
            <a:ext cx="6480000" cy="400111"/>
            <a:chOff x="1788452" y="1654746"/>
            <a:chExt cx="6480000" cy="400111"/>
          </a:xfrm>
        </p:grpSpPr>
        <p:sp>
          <p:nvSpPr>
            <p:cNvPr id="54" name="TextBox 2">
              <a:extLst>
                <a:ext uri="{FF2B5EF4-FFF2-40B4-BE49-F238E27FC236}">
                  <a16:creationId xmlns:a16="http://schemas.microsoft.com/office/drawing/2014/main" id="{C6708338-46BB-45D1-94AC-439D326D9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88452" y="1654747"/>
              <a:ext cx="546206" cy="400110"/>
            </a:xfrm>
            <a:prstGeom prst="rect">
              <a:avLst/>
            </a:prstGeom>
            <a:solidFill>
              <a:srgbClr val="A70F2B"/>
            </a:solidFill>
            <a:ln>
              <a:solidFill>
                <a:srgbClr val="A70F2B"/>
              </a:solidFill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微软雅黑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7</a:t>
              </a:r>
              <a:endParaRPr lang="zh-CN" altLang="en-US" sz="2000" b="1" dirty="0">
                <a:solidFill>
                  <a:schemeClr val="bg1"/>
                </a:solidFill>
                <a:latin typeface="Tahoma" pitchFamily="34" charset="0"/>
                <a:ea typeface="楷体_GB2312" pitchFamily="49" charset="-122"/>
                <a:cs typeface="Tahoma" pitchFamily="34" charset="0"/>
              </a:endParaRPr>
            </a:p>
          </p:txBody>
        </p:sp>
        <p:cxnSp>
          <p:nvCxnSpPr>
            <p:cNvPr id="55" name="直接连接符 4">
              <a:extLst>
                <a:ext uri="{FF2B5EF4-FFF2-40B4-BE49-F238E27FC236}">
                  <a16:creationId xmlns:a16="http://schemas.microsoft.com/office/drawing/2014/main" id="{271BF750-7448-4F26-A842-52113ABB9ADB}"/>
                </a:ext>
              </a:extLst>
            </p:cNvPr>
            <p:cNvCxnSpPr/>
            <p:nvPr/>
          </p:nvCxnSpPr>
          <p:spPr>
            <a:xfrm>
              <a:off x="1788452" y="1654746"/>
              <a:ext cx="6480000" cy="0"/>
            </a:xfrm>
            <a:prstGeom prst="line">
              <a:avLst/>
            </a:prstGeom>
            <a:ln>
              <a:solidFill>
                <a:srgbClr val="A70F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7">
              <a:extLst>
                <a:ext uri="{FF2B5EF4-FFF2-40B4-BE49-F238E27FC236}">
                  <a16:creationId xmlns:a16="http://schemas.microsoft.com/office/drawing/2014/main" id="{50F847A9-620E-4396-9FAF-B4DF7F842B7B}"/>
                </a:ext>
              </a:extLst>
            </p:cNvPr>
            <p:cNvSpPr/>
            <p:nvPr/>
          </p:nvSpPr>
          <p:spPr>
            <a:xfrm>
              <a:off x="2334658" y="1678836"/>
              <a:ext cx="59337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90500" lvl="1">
                <a:spcBef>
                  <a:spcPct val="0"/>
                </a:spcBef>
                <a:buSzPct val="80000"/>
                <a:tabLst>
                  <a:tab pos="476250" algn="l"/>
                  <a:tab pos="952500" algn="l"/>
                  <a:tab pos="1238250" algn="l"/>
                  <a:tab pos="8338820" algn="r"/>
                </a:tabLst>
              </a:pPr>
              <a:r>
                <a:rPr lang="en-US" altLang="zh-CN" dirty="0">
                  <a:solidFill>
                    <a:srgbClr val="A70F2B"/>
                  </a:solidFill>
                  <a:ea typeface="楷体_GB2312" pitchFamily="49" charset="-122"/>
                  <a:cs typeface="Tahoma" pitchFamily="34" charset="0"/>
                  <a:sym typeface="+mn-ea"/>
                </a:rPr>
                <a:t>Summary</a:t>
              </a:r>
            </a:p>
          </p:txBody>
        </p:sp>
      </p:grpSp>
      <p:sp>
        <p:nvSpPr>
          <p:cNvPr id="36" name="页脚占位符 5"/>
          <p:cNvSpPr>
            <a:spLocks noGrp="1"/>
          </p:cNvSpPr>
          <p:nvPr>
            <p:ph type="ftr" sz="quarter" idx="3"/>
          </p:nvPr>
        </p:nvSpPr>
        <p:spPr>
          <a:xfrm>
            <a:off x="5361710" y="6356349"/>
            <a:ext cx="2603572" cy="365125"/>
          </a:xfrm>
        </p:spPr>
        <p:txBody>
          <a:bodyPr/>
          <a:lstStyle/>
          <a:p>
            <a:r>
              <a:rPr lang="en-US" dirty="0"/>
              <a:t>World Cup Prediction Using Machine Learning and Python</a:t>
            </a: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0FCE0980-07AA-4BEC-ADF5-5977C4E20088}"/>
              </a:ext>
            </a:extLst>
          </p:cNvPr>
          <p:cNvSpPr/>
          <p:nvPr/>
        </p:nvSpPr>
        <p:spPr>
          <a:xfrm>
            <a:off x="711506" y="1603204"/>
            <a:ext cx="7950468" cy="634470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60" name="Rectangle 18">
            <a:extLst>
              <a:ext uri="{FF2B5EF4-FFF2-40B4-BE49-F238E27FC236}">
                <a16:creationId xmlns:a16="http://schemas.microsoft.com/office/drawing/2014/main" id="{2FFD0565-BC3A-449C-A4B8-9F6AE704DDC4}"/>
              </a:ext>
            </a:extLst>
          </p:cNvPr>
          <p:cNvSpPr/>
          <p:nvPr/>
        </p:nvSpPr>
        <p:spPr>
          <a:xfrm>
            <a:off x="711506" y="2774129"/>
            <a:ext cx="7950468" cy="3188794"/>
          </a:xfrm>
          <a:prstGeom prst="rect">
            <a:avLst/>
          </a:prstGeom>
          <a:solidFill>
            <a:schemeClr val="bg1">
              <a:alpha val="68000"/>
            </a:schemeClr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35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8JKVaUakeRYWkoRxF8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8JKVaUakeRYWkoRxF8cg"/>
</p:tagLst>
</file>

<file path=ppt/theme/theme1.xml><?xml version="1.0" encoding="utf-8"?>
<a:theme xmlns:a="http://schemas.openxmlformats.org/drawingml/2006/main" name="HP Standard 16x9 v2">
  <a:themeElements>
    <a:clrScheme name="Grü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  <a:extLst>
    <a:ext uri="{05A4C25C-085E-4340-85A3-A5531E510DB2}">
      <thm15:themeFamily xmlns:thm15="http://schemas.microsoft.com/office/thememl/2012/main" name="Presentation1" id="{EC248602-6F6E-4869-9C83-5F6819028DB0}" vid="{DC12D24E-7D4B-4CE5-8A0E-8B78DBBF97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576039D-084F-2A4C-A3FF-CEF9B1754F86}">
  <we:reference id="wa104380510" version="1.0.0.3" store="fr-FR" storeType="OMEX"/>
  <we:alternateReferences>
    <we:reference id="WA104380510" version="1.0.0.3" store="WA10438051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72</TotalTime>
  <Words>1668</Words>
  <Application>Microsoft Office PowerPoint</Application>
  <PresentationFormat>全屏显示(4:3)</PresentationFormat>
  <Paragraphs>408</Paragraphs>
  <Slides>32</Slides>
  <Notes>12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42" baseType="lpstr">
      <vt:lpstr>Arial</vt:lpstr>
      <vt:lpstr>楷体_GB2312</vt:lpstr>
      <vt:lpstr>Wingdings</vt:lpstr>
      <vt:lpstr>宋体</vt:lpstr>
      <vt:lpstr>Tahoma</vt:lpstr>
      <vt:lpstr>黑体</vt:lpstr>
      <vt:lpstr>HP Simplified</vt:lpstr>
      <vt:lpstr>Calibri</vt:lpstr>
      <vt:lpstr>Amplitude-Regular</vt:lpstr>
      <vt:lpstr>HP Standard 16x9 v2</vt:lpstr>
      <vt:lpstr>PowerPoint 演示文稿</vt:lpstr>
      <vt:lpstr>Introduction</vt:lpstr>
      <vt:lpstr>Introduction</vt:lpstr>
      <vt:lpstr>PowerPoint 演示文稿</vt:lpstr>
      <vt:lpstr>PowerPoint 演示文稿</vt:lpstr>
      <vt:lpstr>Existing Work</vt:lpstr>
      <vt:lpstr>Existing Work</vt:lpstr>
      <vt:lpstr>Existing Work</vt:lpstr>
      <vt:lpstr>PowerPoint 演示文稿</vt:lpstr>
      <vt:lpstr>Data Collection</vt:lpstr>
      <vt:lpstr>Initial Data Visualization</vt:lpstr>
      <vt:lpstr>Initial Data Visualization</vt:lpstr>
      <vt:lpstr>Initial Data Visualization</vt:lpstr>
      <vt:lpstr>Initial Data Visualization</vt:lpstr>
      <vt:lpstr>PowerPoint 演示文稿</vt:lpstr>
      <vt:lpstr>Data Preprocessing (Feature Engineering)</vt:lpstr>
      <vt:lpstr>Data Preprocessing (Feature Engineering)</vt:lpstr>
      <vt:lpstr>PowerPoint 演示文稿</vt:lpstr>
      <vt:lpstr>Our Proposal: Machine Learning Method</vt:lpstr>
      <vt:lpstr>Our Proposal: Machine Learning Method</vt:lpstr>
      <vt:lpstr>Our Proposal: Machine Learning Method</vt:lpstr>
      <vt:lpstr>Our Proposal: Machine Learning Method</vt:lpstr>
      <vt:lpstr>Our Proposal: Machine Learning Method</vt:lpstr>
      <vt:lpstr>PowerPoint 演示文稿</vt:lpstr>
      <vt:lpstr>Result Graph Presentation</vt:lpstr>
      <vt:lpstr>PowerPoint 演示文稿</vt:lpstr>
      <vt:lpstr>Other Group Trials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Harald Note</dc:creator>
  <cp:lastModifiedBy>Sun Arthur</cp:lastModifiedBy>
  <cp:revision>2415</cp:revision>
  <cp:lastPrinted>2016-11-15T10:26:16Z</cp:lastPrinted>
  <dcterms:created xsi:type="dcterms:W3CDTF">2015-10-17T09:45:13Z</dcterms:created>
  <dcterms:modified xsi:type="dcterms:W3CDTF">2018-07-31T15:53:02Z</dcterms:modified>
</cp:coreProperties>
</file>